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3"/>
    <p:sldId id="257" r:id="rId4"/>
    <p:sldId id="275" r:id="rId5"/>
    <p:sldId id="330" r:id="rId6"/>
    <p:sldId id="331" r:id="rId7"/>
    <p:sldId id="332" r:id="rId8"/>
    <p:sldId id="279" r:id="rId9"/>
    <p:sldId id="333" r:id="rId10"/>
    <p:sldId id="334" r:id="rId11"/>
    <p:sldId id="335" r:id="rId12"/>
    <p:sldId id="336" r:id="rId13"/>
    <p:sldId id="302" r:id="rId1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274D"/>
    <a:srgbClr val="1A75B4"/>
    <a:srgbClr val="8C8D7B"/>
    <a:srgbClr val="4E5A62"/>
    <a:srgbClr val="1B6194"/>
    <a:srgbClr val="2E254B"/>
    <a:srgbClr val="70AC43"/>
    <a:srgbClr val="C0BC00"/>
    <a:srgbClr val="B7CC3E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3" autoAdjust="0"/>
    <p:restoredTop sz="94660"/>
  </p:normalViewPr>
  <p:slideViewPr>
    <p:cSldViewPr snapToGrid="0">
      <p:cViewPr varScale="1">
        <p:scale>
          <a:sx n="61" d="100"/>
          <a:sy n="61" d="100"/>
        </p:scale>
        <p:origin x="7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9" Type="http://schemas.openxmlformats.org/officeDocument/2006/relationships/tableStyles" Target="tableStyles.xml"/><Relationship Id="rId18" Type="http://schemas.openxmlformats.org/officeDocument/2006/relationships/viewProps" Target="viewProps.xml"/><Relationship Id="rId17" Type="http://schemas.openxmlformats.org/officeDocument/2006/relationships/presProps" Target="presProps.xml"/><Relationship Id="rId16" Type="http://schemas.openxmlformats.org/officeDocument/2006/relationships/handoutMaster" Target="handoutMasters/handoutMaster1.xml"/><Relationship Id="rId15" Type="http://schemas.openxmlformats.org/officeDocument/2006/relationships/notesMaster" Target="notesMasters/notesMaster1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1E026E-5821-4914-88D2-30408802E00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38D247-7245-4E89-ABFF-FE914D202D3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2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德國工廠-塑科精密 copy.jpg"/>
          <p:cNvPicPr>
            <a:picLocks noChangeAspect="1"/>
          </p:cNvPicPr>
          <p:nvPr userDrawn="1"/>
        </p:nvPicPr>
        <p:blipFill>
          <a:blip r:embed="rId2" cstate="email"/>
          <a:srcRect t="18" b="18"/>
          <a:stretch>
            <a:fillRect/>
          </a:stretch>
        </p:blipFill>
        <p:spPr>
          <a:xfrm>
            <a:off x="0" y="-19251"/>
            <a:ext cx="12192000" cy="4836957"/>
          </a:xfrm>
          <a:prstGeom prst="rect">
            <a:avLst/>
          </a:prstGeom>
        </p:spPr>
      </p:pic>
      <p:sp>
        <p:nvSpPr>
          <p:cNvPr id="56" name="矩形 55"/>
          <p:cNvSpPr/>
          <p:nvPr/>
        </p:nvSpPr>
        <p:spPr>
          <a:xfrm>
            <a:off x="1588" y="-19251"/>
            <a:ext cx="12188825" cy="4864440"/>
          </a:xfrm>
          <a:prstGeom prst="rect">
            <a:avLst/>
          </a:prstGeom>
          <a:solidFill>
            <a:srgbClr val="FFFFFF">
              <a:alpha val="55000"/>
            </a:srgbClr>
          </a:solidFill>
          <a:ln>
            <a:noFill/>
          </a:ln>
          <a:effectLst/>
        </p:spPr>
        <p:txBody>
          <a:bodyPr wrap="square" lIns="91440" tIns="68580" rIns="68580" bIns="685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endParaRPr lang="zh-CN" altLang="en-US" sz="1000" dirty="0" err="1">
              <a:solidFill>
                <a:schemeClr val="tx2"/>
              </a:solidFill>
              <a:latin typeface="Arial" panose="020B0604020202090204" pitchFamily="34" charset="0"/>
              <a:ea typeface="微软雅黑" panose="020B0503020204020204" pitchFamily="34" charset="-122"/>
              <a:sym typeface="Arial" panose="020B0604020202090204" pitchFamily="34" charset="0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195872" y="5053131"/>
            <a:ext cx="5146148" cy="807317"/>
            <a:chOff x="12666304" y="9218286"/>
            <a:chExt cx="11479713" cy="1800914"/>
          </a:xfrm>
        </p:grpSpPr>
        <p:sp>
          <p:nvSpPr>
            <p:cNvPr id="15" name="Oval 29"/>
            <p:cNvSpPr/>
            <p:nvPr/>
          </p:nvSpPr>
          <p:spPr>
            <a:xfrm>
              <a:off x="12666304" y="9218286"/>
              <a:ext cx="1800913" cy="180091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6" name="Oval 41"/>
            <p:cNvSpPr/>
            <p:nvPr/>
          </p:nvSpPr>
          <p:spPr>
            <a:xfrm>
              <a:off x="15086005" y="9218286"/>
              <a:ext cx="1800913" cy="180091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7" name="Oval 42"/>
            <p:cNvSpPr/>
            <p:nvPr/>
          </p:nvSpPr>
          <p:spPr>
            <a:xfrm>
              <a:off x="17505705" y="9218286"/>
              <a:ext cx="1800913" cy="180091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8" name="Oval 45"/>
            <p:cNvSpPr/>
            <p:nvPr/>
          </p:nvSpPr>
          <p:spPr>
            <a:xfrm>
              <a:off x="19925403" y="9218286"/>
              <a:ext cx="1800913" cy="180091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sp>
          <p:nvSpPr>
            <p:cNvPr id="19" name="Oval 46"/>
            <p:cNvSpPr/>
            <p:nvPr/>
          </p:nvSpPr>
          <p:spPr>
            <a:xfrm>
              <a:off x="22345104" y="9218286"/>
              <a:ext cx="1800913" cy="180091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531" tIns="22776" rIns="45531" bIns="22776" rtlCol="0" anchor="ctr"/>
            <a:lstStyle/>
            <a:p>
              <a:pPr algn="ctr"/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sym typeface="Arial" panose="020B0604020202090204" pitchFamily="34" charset="0"/>
              </a:endParaRPr>
            </a:p>
          </p:txBody>
        </p:sp>
        <p:grpSp>
          <p:nvGrpSpPr>
            <p:cNvPr id="20" name="Group 48"/>
            <p:cNvGrpSpPr/>
            <p:nvPr/>
          </p:nvGrpSpPr>
          <p:grpSpPr>
            <a:xfrm>
              <a:off x="20411556" y="9665676"/>
              <a:ext cx="905522" cy="906114"/>
              <a:chOff x="2524463" y="4766967"/>
              <a:chExt cx="618725" cy="618888"/>
            </a:xfrm>
            <a:solidFill>
              <a:schemeClr val="bg1"/>
            </a:solidFill>
          </p:grpSpPr>
          <p:sp>
            <p:nvSpPr>
              <p:cNvPr id="39" name="Freeform 67"/>
              <p:cNvSpPr>
                <a:spLocks noChangeArrowheads="1"/>
              </p:cNvSpPr>
              <p:nvPr/>
            </p:nvSpPr>
            <p:spPr bwMode="auto">
              <a:xfrm>
                <a:off x="2704225" y="4779511"/>
                <a:ext cx="117056" cy="117086"/>
              </a:xfrm>
              <a:custGeom>
                <a:avLst/>
                <a:gdLst>
                  <a:gd name="T0" fmla="*/ 0 w 123"/>
                  <a:gd name="T1" fmla="*/ 122 h 123"/>
                  <a:gd name="T2" fmla="*/ 0 w 123"/>
                  <a:gd name="T3" fmla="*/ 122 h 123"/>
                  <a:gd name="T4" fmla="*/ 122 w 123"/>
                  <a:gd name="T5" fmla="*/ 122 h 123"/>
                  <a:gd name="T6" fmla="*/ 122 w 123"/>
                  <a:gd name="T7" fmla="*/ 0 h 123"/>
                  <a:gd name="T8" fmla="*/ 0 w 123"/>
                  <a:gd name="T9" fmla="*/ 12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23">
                    <a:moveTo>
                      <a:pt x="0" y="122"/>
                    </a:moveTo>
                    <a:lnTo>
                      <a:pt x="0" y="122"/>
                    </a:lnTo>
                    <a:cubicBezTo>
                      <a:pt x="122" y="122"/>
                      <a:pt x="122" y="122"/>
                      <a:pt x="122" y="122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68" y="0"/>
                      <a:pt x="26" y="54"/>
                      <a:pt x="0" y="12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0" name="Freeform 68"/>
              <p:cNvSpPr>
                <a:spLocks noChangeArrowheads="1"/>
              </p:cNvSpPr>
              <p:nvPr/>
            </p:nvSpPr>
            <p:spPr bwMode="auto">
              <a:xfrm>
                <a:off x="2666603" y="4934235"/>
                <a:ext cx="154681" cy="129630"/>
              </a:xfrm>
              <a:custGeom>
                <a:avLst/>
                <a:gdLst>
                  <a:gd name="T0" fmla="*/ 163 w 164"/>
                  <a:gd name="T1" fmla="*/ 136 h 137"/>
                  <a:gd name="T2" fmla="*/ 163 w 164"/>
                  <a:gd name="T3" fmla="*/ 136 h 137"/>
                  <a:gd name="T4" fmla="*/ 163 w 164"/>
                  <a:gd name="T5" fmla="*/ 0 h 137"/>
                  <a:gd name="T6" fmla="*/ 27 w 164"/>
                  <a:gd name="T7" fmla="*/ 0 h 137"/>
                  <a:gd name="T8" fmla="*/ 0 w 164"/>
                  <a:gd name="T9" fmla="*/ 136 h 137"/>
                  <a:gd name="T10" fmla="*/ 163 w 164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37">
                    <a:moveTo>
                      <a:pt x="163" y="136"/>
                    </a:moveTo>
                    <a:lnTo>
                      <a:pt x="163" y="136"/>
                    </a:lnTo>
                    <a:cubicBezTo>
                      <a:pt x="163" y="0"/>
                      <a:pt x="163" y="0"/>
                      <a:pt x="163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3" y="40"/>
                      <a:pt x="0" y="82"/>
                      <a:pt x="0" y="136"/>
                    </a:cubicBezTo>
                    <a:lnTo>
                      <a:pt x="163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1" name="Freeform 69"/>
              <p:cNvSpPr>
                <a:spLocks noChangeArrowheads="1"/>
              </p:cNvSpPr>
              <p:nvPr/>
            </p:nvSpPr>
            <p:spPr bwMode="auto">
              <a:xfrm>
                <a:off x="2850546" y="4779511"/>
                <a:ext cx="117056" cy="117086"/>
              </a:xfrm>
              <a:custGeom>
                <a:avLst/>
                <a:gdLst>
                  <a:gd name="T0" fmla="*/ 0 w 122"/>
                  <a:gd name="T1" fmla="*/ 0 h 123"/>
                  <a:gd name="T2" fmla="*/ 0 w 122"/>
                  <a:gd name="T3" fmla="*/ 0 h 123"/>
                  <a:gd name="T4" fmla="*/ 0 w 122"/>
                  <a:gd name="T5" fmla="*/ 122 h 123"/>
                  <a:gd name="T6" fmla="*/ 121 w 122"/>
                  <a:gd name="T7" fmla="*/ 122 h 123"/>
                  <a:gd name="T8" fmla="*/ 0 w 122"/>
                  <a:gd name="T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2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22"/>
                      <a:pt x="0" y="122"/>
                      <a:pt x="0" y="122"/>
                    </a:cubicBezTo>
                    <a:cubicBezTo>
                      <a:pt x="121" y="122"/>
                      <a:pt x="121" y="122"/>
                      <a:pt x="121" y="122"/>
                    </a:cubicBezTo>
                    <a:cubicBezTo>
                      <a:pt x="95" y="54"/>
                      <a:pt x="41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2" name="Freeform 70"/>
              <p:cNvSpPr>
                <a:spLocks noChangeArrowheads="1"/>
              </p:cNvSpPr>
              <p:nvPr/>
            </p:nvSpPr>
            <p:spPr bwMode="auto">
              <a:xfrm>
                <a:off x="2524463" y="5088955"/>
                <a:ext cx="142140" cy="142175"/>
              </a:xfrm>
              <a:custGeom>
                <a:avLst/>
                <a:gdLst>
                  <a:gd name="T0" fmla="*/ 122 w 151"/>
                  <a:gd name="T1" fmla="*/ 0 h 150"/>
                  <a:gd name="T2" fmla="*/ 122 w 151"/>
                  <a:gd name="T3" fmla="*/ 0 h 150"/>
                  <a:gd name="T4" fmla="*/ 0 w 151"/>
                  <a:gd name="T5" fmla="*/ 0 h 150"/>
                  <a:gd name="T6" fmla="*/ 42 w 151"/>
                  <a:gd name="T7" fmla="*/ 149 h 150"/>
                  <a:gd name="T8" fmla="*/ 42 w 151"/>
                  <a:gd name="T9" fmla="*/ 149 h 150"/>
                  <a:gd name="T10" fmla="*/ 150 w 151"/>
                  <a:gd name="T11" fmla="*/ 149 h 150"/>
                  <a:gd name="T12" fmla="*/ 122 w 151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0">
                    <a:moveTo>
                      <a:pt x="122" y="0"/>
                    </a:moveTo>
                    <a:lnTo>
                      <a:pt x="122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4" y="109"/>
                      <a:pt x="42" y="149"/>
                    </a:cubicBezTo>
                    <a:lnTo>
                      <a:pt x="42" y="149"/>
                    </a:lnTo>
                    <a:cubicBezTo>
                      <a:pt x="150" y="149"/>
                      <a:pt x="150" y="149"/>
                      <a:pt x="150" y="149"/>
                    </a:cubicBezTo>
                    <a:cubicBezTo>
                      <a:pt x="136" y="109"/>
                      <a:pt x="122" y="54"/>
                      <a:pt x="122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3" name="Freeform 71"/>
              <p:cNvSpPr>
                <a:spLocks noChangeArrowheads="1"/>
              </p:cNvSpPr>
              <p:nvPr/>
            </p:nvSpPr>
            <p:spPr bwMode="auto">
              <a:xfrm>
                <a:off x="3001048" y="5088955"/>
                <a:ext cx="142140" cy="142175"/>
              </a:xfrm>
              <a:custGeom>
                <a:avLst/>
                <a:gdLst>
                  <a:gd name="T0" fmla="*/ 14 w 150"/>
                  <a:gd name="T1" fmla="*/ 0 h 150"/>
                  <a:gd name="T2" fmla="*/ 14 w 150"/>
                  <a:gd name="T3" fmla="*/ 0 h 150"/>
                  <a:gd name="T4" fmla="*/ 0 w 150"/>
                  <a:gd name="T5" fmla="*/ 149 h 150"/>
                  <a:gd name="T6" fmla="*/ 95 w 150"/>
                  <a:gd name="T7" fmla="*/ 149 h 150"/>
                  <a:gd name="T8" fmla="*/ 109 w 150"/>
                  <a:gd name="T9" fmla="*/ 149 h 150"/>
                  <a:gd name="T10" fmla="*/ 149 w 150"/>
                  <a:gd name="T11" fmla="*/ 0 h 150"/>
                  <a:gd name="T12" fmla="*/ 14 w 150"/>
                  <a:gd name="T1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0">
                    <a:moveTo>
                      <a:pt x="14" y="0"/>
                    </a:moveTo>
                    <a:lnTo>
                      <a:pt x="14" y="0"/>
                    </a:lnTo>
                    <a:cubicBezTo>
                      <a:pt x="14" y="54"/>
                      <a:pt x="0" y="109"/>
                      <a:pt x="0" y="149"/>
                    </a:cubicBezTo>
                    <a:cubicBezTo>
                      <a:pt x="95" y="149"/>
                      <a:pt x="95" y="149"/>
                      <a:pt x="95" y="149"/>
                    </a:cubicBezTo>
                    <a:lnTo>
                      <a:pt x="109" y="149"/>
                    </a:lnTo>
                    <a:cubicBezTo>
                      <a:pt x="122" y="109"/>
                      <a:pt x="149" y="54"/>
                      <a:pt x="149" y="0"/>
                    </a:cubicBez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4" name="Freeform 72"/>
              <p:cNvSpPr>
                <a:spLocks noChangeArrowheads="1"/>
              </p:cNvSpPr>
              <p:nvPr/>
            </p:nvSpPr>
            <p:spPr bwMode="auto">
              <a:xfrm>
                <a:off x="2666603" y="5088955"/>
                <a:ext cx="154681" cy="142175"/>
              </a:xfrm>
              <a:custGeom>
                <a:avLst/>
                <a:gdLst>
                  <a:gd name="T0" fmla="*/ 163 w 164"/>
                  <a:gd name="T1" fmla="*/ 0 h 150"/>
                  <a:gd name="T2" fmla="*/ 163 w 164"/>
                  <a:gd name="T3" fmla="*/ 0 h 150"/>
                  <a:gd name="T4" fmla="*/ 0 w 164"/>
                  <a:gd name="T5" fmla="*/ 0 h 150"/>
                  <a:gd name="T6" fmla="*/ 27 w 164"/>
                  <a:gd name="T7" fmla="*/ 149 h 150"/>
                  <a:gd name="T8" fmla="*/ 163 w 164"/>
                  <a:gd name="T9" fmla="*/ 149 h 150"/>
                  <a:gd name="T10" fmla="*/ 163 w 164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150">
                    <a:moveTo>
                      <a:pt x="163" y="0"/>
                    </a:moveTo>
                    <a:lnTo>
                      <a:pt x="163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13" y="109"/>
                      <a:pt x="27" y="149"/>
                    </a:cubicBezTo>
                    <a:cubicBezTo>
                      <a:pt x="163" y="149"/>
                      <a:pt x="163" y="149"/>
                      <a:pt x="163" y="149"/>
                    </a:cubicBezTo>
                    <a:lnTo>
                      <a:pt x="163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5" name="Freeform 73"/>
              <p:cNvSpPr>
                <a:spLocks noChangeArrowheads="1"/>
              </p:cNvSpPr>
              <p:nvPr/>
            </p:nvSpPr>
            <p:spPr bwMode="auto">
              <a:xfrm>
                <a:off x="2524463" y="4921688"/>
                <a:ext cx="142140" cy="142175"/>
              </a:xfrm>
              <a:custGeom>
                <a:avLst/>
                <a:gdLst>
                  <a:gd name="T0" fmla="*/ 122 w 151"/>
                  <a:gd name="T1" fmla="*/ 150 h 151"/>
                  <a:gd name="T2" fmla="*/ 122 w 151"/>
                  <a:gd name="T3" fmla="*/ 150 h 151"/>
                  <a:gd name="T4" fmla="*/ 150 w 151"/>
                  <a:gd name="T5" fmla="*/ 14 h 151"/>
                  <a:gd name="T6" fmla="*/ 42 w 151"/>
                  <a:gd name="T7" fmla="*/ 14 h 151"/>
                  <a:gd name="T8" fmla="*/ 42 w 151"/>
                  <a:gd name="T9" fmla="*/ 0 h 151"/>
                  <a:gd name="T10" fmla="*/ 0 w 151"/>
                  <a:gd name="T11" fmla="*/ 150 h 151"/>
                  <a:gd name="T12" fmla="*/ 122 w 151"/>
                  <a:gd name="T13" fmla="*/ 15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51">
                    <a:moveTo>
                      <a:pt x="122" y="150"/>
                    </a:moveTo>
                    <a:lnTo>
                      <a:pt x="122" y="150"/>
                    </a:lnTo>
                    <a:cubicBezTo>
                      <a:pt x="122" y="96"/>
                      <a:pt x="136" y="54"/>
                      <a:pt x="150" y="14"/>
                    </a:cubicBezTo>
                    <a:cubicBezTo>
                      <a:pt x="42" y="14"/>
                      <a:pt x="42" y="14"/>
                      <a:pt x="42" y="14"/>
                    </a:cubicBezTo>
                    <a:lnTo>
                      <a:pt x="42" y="0"/>
                    </a:lnTo>
                    <a:cubicBezTo>
                      <a:pt x="14" y="54"/>
                      <a:pt x="0" y="96"/>
                      <a:pt x="0" y="150"/>
                    </a:cubicBezTo>
                    <a:lnTo>
                      <a:pt x="122" y="15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6" name="Freeform 74"/>
              <p:cNvSpPr>
                <a:spLocks noChangeArrowheads="1"/>
              </p:cNvSpPr>
              <p:nvPr/>
            </p:nvSpPr>
            <p:spPr bwMode="auto">
              <a:xfrm>
                <a:off x="2850547" y="4934235"/>
                <a:ext cx="142140" cy="129630"/>
              </a:xfrm>
              <a:custGeom>
                <a:avLst/>
                <a:gdLst>
                  <a:gd name="T0" fmla="*/ 149 w 150"/>
                  <a:gd name="T1" fmla="*/ 136 h 137"/>
                  <a:gd name="T2" fmla="*/ 149 w 150"/>
                  <a:gd name="T3" fmla="*/ 136 h 137"/>
                  <a:gd name="T4" fmla="*/ 121 w 150"/>
                  <a:gd name="T5" fmla="*/ 0 h 137"/>
                  <a:gd name="T6" fmla="*/ 0 w 150"/>
                  <a:gd name="T7" fmla="*/ 0 h 137"/>
                  <a:gd name="T8" fmla="*/ 0 w 150"/>
                  <a:gd name="T9" fmla="*/ 136 h 137"/>
                  <a:gd name="T10" fmla="*/ 149 w 150"/>
                  <a:gd name="T11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37">
                    <a:moveTo>
                      <a:pt x="149" y="136"/>
                    </a:moveTo>
                    <a:lnTo>
                      <a:pt x="149" y="136"/>
                    </a:lnTo>
                    <a:cubicBezTo>
                      <a:pt x="149" y="82"/>
                      <a:pt x="135" y="40"/>
                      <a:pt x="12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6"/>
                      <a:pt x="0" y="136"/>
                      <a:pt x="0" y="136"/>
                    </a:cubicBezTo>
                    <a:lnTo>
                      <a:pt x="14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7" name="Freeform 75"/>
              <p:cNvSpPr>
                <a:spLocks noChangeArrowheads="1"/>
              </p:cNvSpPr>
              <p:nvPr/>
            </p:nvSpPr>
            <p:spPr bwMode="auto">
              <a:xfrm>
                <a:off x="2574630" y="4766967"/>
                <a:ext cx="183944" cy="129630"/>
              </a:xfrm>
              <a:custGeom>
                <a:avLst/>
                <a:gdLst>
                  <a:gd name="T0" fmla="*/ 109 w 192"/>
                  <a:gd name="T1" fmla="*/ 136 h 137"/>
                  <a:gd name="T2" fmla="*/ 109 w 192"/>
                  <a:gd name="T3" fmla="*/ 136 h 137"/>
                  <a:gd name="T4" fmla="*/ 191 w 192"/>
                  <a:gd name="T5" fmla="*/ 0 h 137"/>
                  <a:gd name="T6" fmla="*/ 0 w 192"/>
                  <a:gd name="T7" fmla="*/ 136 h 137"/>
                  <a:gd name="T8" fmla="*/ 109 w 192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7">
                    <a:moveTo>
                      <a:pt x="109" y="136"/>
                    </a:moveTo>
                    <a:lnTo>
                      <a:pt x="109" y="136"/>
                    </a:lnTo>
                    <a:cubicBezTo>
                      <a:pt x="123" y="82"/>
                      <a:pt x="151" y="28"/>
                      <a:pt x="191" y="0"/>
                    </a:cubicBezTo>
                    <a:cubicBezTo>
                      <a:pt x="109" y="28"/>
                      <a:pt x="42" y="82"/>
                      <a:pt x="0" y="136"/>
                    </a:cubicBezTo>
                    <a:lnTo>
                      <a:pt x="109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8" name="Freeform 76"/>
              <p:cNvSpPr>
                <a:spLocks noChangeArrowheads="1"/>
              </p:cNvSpPr>
              <p:nvPr/>
            </p:nvSpPr>
            <p:spPr bwMode="auto">
              <a:xfrm>
                <a:off x="2574630" y="5256222"/>
                <a:ext cx="183944" cy="129633"/>
              </a:xfrm>
              <a:custGeom>
                <a:avLst/>
                <a:gdLst>
                  <a:gd name="T0" fmla="*/ 109 w 192"/>
                  <a:gd name="T1" fmla="*/ 0 h 136"/>
                  <a:gd name="T2" fmla="*/ 109 w 192"/>
                  <a:gd name="T3" fmla="*/ 0 h 136"/>
                  <a:gd name="T4" fmla="*/ 0 w 192"/>
                  <a:gd name="T5" fmla="*/ 0 h 136"/>
                  <a:gd name="T6" fmla="*/ 191 w 192"/>
                  <a:gd name="T7" fmla="*/ 135 h 136"/>
                  <a:gd name="T8" fmla="*/ 109 w 19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" h="136">
                    <a:moveTo>
                      <a:pt x="109" y="0"/>
                    </a:moveTo>
                    <a:lnTo>
                      <a:pt x="109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42" y="67"/>
                      <a:pt x="109" y="121"/>
                      <a:pt x="191" y="135"/>
                    </a:cubicBezTo>
                    <a:cubicBezTo>
                      <a:pt x="151" y="109"/>
                      <a:pt x="123" y="67"/>
                      <a:pt x="109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49" name="Freeform 77"/>
              <p:cNvSpPr>
                <a:spLocks noChangeArrowheads="1"/>
              </p:cNvSpPr>
              <p:nvPr/>
            </p:nvSpPr>
            <p:spPr bwMode="auto">
              <a:xfrm>
                <a:off x="2900713" y="4766967"/>
                <a:ext cx="179762" cy="129630"/>
              </a:xfrm>
              <a:custGeom>
                <a:avLst/>
                <a:gdLst>
                  <a:gd name="T0" fmla="*/ 95 w 191"/>
                  <a:gd name="T1" fmla="*/ 136 h 137"/>
                  <a:gd name="T2" fmla="*/ 95 w 191"/>
                  <a:gd name="T3" fmla="*/ 136 h 137"/>
                  <a:gd name="T4" fmla="*/ 190 w 191"/>
                  <a:gd name="T5" fmla="*/ 136 h 137"/>
                  <a:gd name="T6" fmla="*/ 0 w 191"/>
                  <a:gd name="T7" fmla="*/ 0 h 137"/>
                  <a:gd name="T8" fmla="*/ 95 w 191"/>
                  <a:gd name="T9" fmla="*/ 13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7">
                    <a:moveTo>
                      <a:pt x="95" y="136"/>
                    </a:moveTo>
                    <a:lnTo>
                      <a:pt x="95" y="136"/>
                    </a:lnTo>
                    <a:cubicBezTo>
                      <a:pt x="190" y="136"/>
                      <a:pt x="190" y="136"/>
                      <a:pt x="190" y="136"/>
                    </a:cubicBezTo>
                    <a:cubicBezTo>
                      <a:pt x="150" y="82"/>
                      <a:pt x="81" y="28"/>
                      <a:pt x="0" y="0"/>
                    </a:cubicBezTo>
                    <a:cubicBezTo>
                      <a:pt x="41" y="28"/>
                      <a:pt x="67" y="82"/>
                      <a:pt x="95" y="136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0" name="Freeform 78"/>
              <p:cNvSpPr>
                <a:spLocks noChangeArrowheads="1"/>
              </p:cNvSpPr>
              <p:nvPr/>
            </p:nvSpPr>
            <p:spPr bwMode="auto">
              <a:xfrm>
                <a:off x="2900713" y="5256222"/>
                <a:ext cx="179762" cy="129633"/>
              </a:xfrm>
              <a:custGeom>
                <a:avLst/>
                <a:gdLst>
                  <a:gd name="T0" fmla="*/ 95 w 191"/>
                  <a:gd name="T1" fmla="*/ 0 h 136"/>
                  <a:gd name="T2" fmla="*/ 95 w 191"/>
                  <a:gd name="T3" fmla="*/ 0 h 136"/>
                  <a:gd name="T4" fmla="*/ 0 w 191"/>
                  <a:gd name="T5" fmla="*/ 135 h 136"/>
                  <a:gd name="T6" fmla="*/ 190 w 191"/>
                  <a:gd name="T7" fmla="*/ 0 h 136"/>
                  <a:gd name="T8" fmla="*/ 95 w 191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36">
                    <a:moveTo>
                      <a:pt x="95" y="0"/>
                    </a:moveTo>
                    <a:lnTo>
                      <a:pt x="95" y="0"/>
                    </a:lnTo>
                    <a:cubicBezTo>
                      <a:pt x="67" y="67"/>
                      <a:pt x="41" y="109"/>
                      <a:pt x="0" y="135"/>
                    </a:cubicBezTo>
                    <a:cubicBezTo>
                      <a:pt x="81" y="121"/>
                      <a:pt x="150" y="67"/>
                      <a:pt x="190" y="0"/>
                    </a:cubicBezTo>
                    <a:lnTo>
                      <a:pt x="95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1" name="Freeform 79"/>
              <p:cNvSpPr>
                <a:spLocks noChangeArrowheads="1"/>
              </p:cNvSpPr>
              <p:nvPr/>
            </p:nvSpPr>
            <p:spPr bwMode="auto">
              <a:xfrm>
                <a:off x="3001048" y="4921688"/>
                <a:ext cx="142140" cy="142175"/>
              </a:xfrm>
              <a:custGeom>
                <a:avLst/>
                <a:gdLst>
                  <a:gd name="T0" fmla="*/ 95 w 150"/>
                  <a:gd name="T1" fmla="*/ 14 h 151"/>
                  <a:gd name="T2" fmla="*/ 95 w 150"/>
                  <a:gd name="T3" fmla="*/ 14 h 151"/>
                  <a:gd name="T4" fmla="*/ 0 w 150"/>
                  <a:gd name="T5" fmla="*/ 14 h 151"/>
                  <a:gd name="T6" fmla="*/ 14 w 150"/>
                  <a:gd name="T7" fmla="*/ 150 h 151"/>
                  <a:gd name="T8" fmla="*/ 149 w 150"/>
                  <a:gd name="T9" fmla="*/ 150 h 151"/>
                  <a:gd name="T10" fmla="*/ 109 w 150"/>
                  <a:gd name="T11" fmla="*/ 0 h 151"/>
                  <a:gd name="T12" fmla="*/ 95 w 150"/>
                  <a:gd name="T13" fmla="*/ 1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51">
                    <a:moveTo>
                      <a:pt x="95" y="14"/>
                    </a:moveTo>
                    <a:lnTo>
                      <a:pt x="95" y="14"/>
                    </a:lnTo>
                    <a:cubicBezTo>
                      <a:pt x="0" y="14"/>
                      <a:pt x="0" y="14"/>
                      <a:pt x="0" y="14"/>
                    </a:cubicBezTo>
                    <a:cubicBezTo>
                      <a:pt x="0" y="54"/>
                      <a:pt x="14" y="96"/>
                      <a:pt x="14" y="150"/>
                    </a:cubicBezTo>
                    <a:cubicBezTo>
                      <a:pt x="149" y="150"/>
                      <a:pt x="149" y="150"/>
                      <a:pt x="149" y="150"/>
                    </a:cubicBezTo>
                    <a:cubicBezTo>
                      <a:pt x="149" y="96"/>
                      <a:pt x="122" y="54"/>
                      <a:pt x="109" y="0"/>
                    </a:cubicBezTo>
                    <a:lnTo>
                      <a:pt x="95" y="14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2" name="Freeform 80"/>
              <p:cNvSpPr>
                <a:spLocks noChangeArrowheads="1"/>
              </p:cNvSpPr>
              <p:nvPr/>
            </p:nvSpPr>
            <p:spPr bwMode="auto">
              <a:xfrm>
                <a:off x="2850546" y="5256222"/>
                <a:ext cx="117056" cy="129633"/>
              </a:xfrm>
              <a:custGeom>
                <a:avLst/>
                <a:gdLst>
                  <a:gd name="T0" fmla="*/ 121 w 122"/>
                  <a:gd name="T1" fmla="*/ 0 h 136"/>
                  <a:gd name="T2" fmla="*/ 121 w 122"/>
                  <a:gd name="T3" fmla="*/ 0 h 136"/>
                  <a:gd name="T4" fmla="*/ 0 w 122"/>
                  <a:gd name="T5" fmla="*/ 0 h 136"/>
                  <a:gd name="T6" fmla="*/ 0 w 122"/>
                  <a:gd name="T7" fmla="*/ 135 h 136"/>
                  <a:gd name="T8" fmla="*/ 121 w 122"/>
                  <a:gd name="T9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36">
                    <a:moveTo>
                      <a:pt x="121" y="0"/>
                    </a:moveTo>
                    <a:lnTo>
                      <a:pt x="121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41" y="135"/>
                      <a:pt x="95" y="81"/>
                      <a:pt x="121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3" name="Freeform 81"/>
              <p:cNvSpPr>
                <a:spLocks noChangeArrowheads="1"/>
              </p:cNvSpPr>
              <p:nvPr/>
            </p:nvSpPr>
            <p:spPr bwMode="auto">
              <a:xfrm>
                <a:off x="2850547" y="5088955"/>
                <a:ext cx="142140" cy="142175"/>
              </a:xfrm>
              <a:custGeom>
                <a:avLst/>
                <a:gdLst>
                  <a:gd name="T0" fmla="*/ 0 w 150"/>
                  <a:gd name="T1" fmla="*/ 0 h 150"/>
                  <a:gd name="T2" fmla="*/ 0 w 150"/>
                  <a:gd name="T3" fmla="*/ 0 h 150"/>
                  <a:gd name="T4" fmla="*/ 0 w 150"/>
                  <a:gd name="T5" fmla="*/ 149 h 150"/>
                  <a:gd name="T6" fmla="*/ 121 w 150"/>
                  <a:gd name="T7" fmla="*/ 149 h 150"/>
                  <a:gd name="T8" fmla="*/ 149 w 150"/>
                  <a:gd name="T9" fmla="*/ 0 h 150"/>
                  <a:gd name="T10" fmla="*/ 0 w 150"/>
                  <a:gd name="T11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50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49"/>
                      <a:pt x="0" y="149"/>
                      <a:pt x="0" y="149"/>
                    </a:cubicBezTo>
                    <a:cubicBezTo>
                      <a:pt x="121" y="149"/>
                      <a:pt x="121" y="149"/>
                      <a:pt x="121" y="149"/>
                    </a:cubicBezTo>
                    <a:cubicBezTo>
                      <a:pt x="135" y="109"/>
                      <a:pt x="149" y="54"/>
                      <a:pt x="149" y="0"/>
                    </a:cubicBez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54" name="Freeform 82"/>
              <p:cNvSpPr>
                <a:spLocks noChangeArrowheads="1"/>
              </p:cNvSpPr>
              <p:nvPr/>
            </p:nvSpPr>
            <p:spPr bwMode="auto">
              <a:xfrm>
                <a:off x="2704225" y="5256222"/>
                <a:ext cx="117056" cy="129633"/>
              </a:xfrm>
              <a:custGeom>
                <a:avLst/>
                <a:gdLst>
                  <a:gd name="T0" fmla="*/ 122 w 123"/>
                  <a:gd name="T1" fmla="*/ 135 h 136"/>
                  <a:gd name="T2" fmla="*/ 122 w 123"/>
                  <a:gd name="T3" fmla="*/ 135 h 136"/>
                  <a:gd name="T4" fmla="*/ 122 w 123"/>
                  <a:gd name="T5" fmla="*/ 0 h 136"/>
                  <a:gd name="T6" fmla="*/ 0 w 123"/>
                  <a:gd name="T7" fmla="*/ 0 h 136"/>
                  <a:gd name="T8" fmla="*/ 122 w 123"/>
                  <a:gd name="T9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136">
                    <a:moveTo>
                      <a:pt x="122" y="135"/>
                    </a:moveTo>
                    <a:lnTo>
                      <a:pt x="122" y="135"/>
                    </a:lnTo>
                    <a:cubicBezTo>
                      <a:pt x="122" y="0"/>
                      <a:pt x="122" y="0"/>
                      <a:pt x="1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6" y="81"/>
                      <a:pt x="68" y="135"/>
                      <a:pt x="122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sp>
          <p:nvSpPr>
            <p:cNvPr id="21" name="Freeform 182"/>
            <p:cNvSpPr>
              <a:spLocks noChangeArrowheads="1"/>
            </p:cNvSpPr>
            <p:nvPr/>
          </p:nvSpPr>
          <p:spPr bwMode="auto">
            <a:xfrm>
              <a:off x="13169449" y="9706778"/>
              <a:ext cx="823591" cy="823914"/>
            </a:xfrm>
            <a:custGeom>
              <a:avLst/>
              <a:gdLst>
                <a:gd name="T0" fmla="*/ 822259 w 654"/>
                <a:gd name="T1" fmla="*/ 0 h 654"/>
                <a:gd name="T2" fmla="*/ 0 w 654"/>
                <a:gd name="T3" fmla="*/ 17633 h 654"/>
                <a:gd name="T4" fmla="*/ 0 w 654"/>
                <a:gd name="T5" fmla="*/ 822474 h 654"/>
                <a:gd name="T6" fmla="*/ 342503 w 654"/>
                <a:gd name="T7" fmla="*/ 822474 h 654"/>
                <a:gd name="T8" fmla="*/ 478497 w 654"/>
                <a:gd name="T9" fmla="*/ 566789 h 654"/>
                <a:gd name="T10" fmla="*/ 478497 w 654"/>
                <a:gd name="T11" fmla="*/ 822474 h 654"/>
                <a:gd name="T12" fmla="*/ 822259 w 654"/>
                <a:gd name="T13" fmla="*/ 822474 h 654"/>
                <a:gd name="T14" fmla="*/ 822259 w 654"/>
                <a:gd name="T15" fmla="*/ 0 h 654"/>
                <a:gd name="T16" fmla="*/ 222879 w 654"/>
                <a:gd name="T17" fmla="*/ 566789 h 654"/>
                <a:gd name="T18" fmla="*/ 101995 w 654"/>
                <a:gd name="T19" fmla="*/ 702819 h 654"/>
                <a:gd name="T20" fmla="*/ 222879 w 654"/>
                <a:gd name="T21" fmla="*/ 566789 h 654"/>
                <a:gd name="T22" fmla="*/ 101995 w 654"/>
                <a:gd name="T23" fmla="*/ 463508 h 654"/>
                <a:gd name="T24" fmla="*/ 222879 w 654"/>
                <a:gd name="T25" fmla="*/ 326219 h 654"/>
                <a:gd name="T26" fmla="*/ 101995 w 654"/>
                <a:gd name="T27" fmla="*/ 463508 h 654"/>
                <a:gd name="T28" fmla="*/ 101995 w 654"/>
                <a:gd name="T29" fmla="*/ 222937 h 654"/>
                <a:gd name="T30" fmla="*/ 222879 w 654"/>
                <a:gd name="T31" fmla="*/ 85648 h 654"/>
                <a:gd name="T32" fmla="*/ 101995 w 654"/>
                <a:gd name="T33" fmla="*/ 222937 h 654"/>
                <a:gd name="T34" fmla="*/ 478497 w 654"/>
                <a:gd name="T35" fmla="*/ 326219 h 654"/>
                <a:gd name="T36" fmla="*/ 342503 w 654"/>
                <a:gd name="T37" fmla="*/ 463508 h 654"/>
                <a:gd name="T38" fmla="*/ 478497 w 654"/>
                <a:gd name="T39" fmla="*/ 326219 h 654"/>
                <a:gd name="T40" fmla="*/ 342503 w 654"/>
                <a:gd name="T41" fmla="*/ 222937 h 654"/>
                <a:gd name="T42" fmla="*/ 478497 w 654"/>
                <a:gd name="T43" fmla="*/ 85648 h 654"/>
                <a:gd name="T44" fmla="*/ 342503 w 654"/>
                <a:gd name="T45" fmla="*/ 222937 h 654"/>
                <a:gd name="T46" fmla="*/ 719004 w 654"/>
                <a:gd name="T47" fmla="*/ 566789 h 654"/>
                <a:gd name="T48" fmla="*/ 599380 w 654"/>
                <a:gd name="T49" fmla="*/ 702819 h 654"/>
                <a:gd name="T50" fmla="*/ 719004 w 654"/>
                <a:gd name="T51" fmla="*/ 566789 h 654"/>
                <a:gd name="T52" fmla="*/ 599380 w 654"/>
                <a:gd name="T53" fmla="*/ 463508 h 654"/>
                <a:gd name="T54" fmla="*/ 719004 w 654"/>
                <a:gd name="T55" fmla="*/ 326219 h 654"/>
                <a:gd name="T56" fmla="*/ 599380 w 654"/>
                <a:gd name="T57" fmla="*/ 463508 h 654"/>
                <a:gd name="T58" fmla="*/ 599380 w 654"/>
                <a:gd name="T59" fmla="*/ 222937 h 654"/>
                <a:gd name="T60" fmla="*/ 719004 w 654"/>
                <a:gd name="T61" fmla="*/ 85648 h 654"/>
                <a:gd name="T62" fmla="*/ 599380 w 654"/>
                <a:gd name="T63" fmla="*/ 222937 h 6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654" h="654">
                  <a:moveTo>
                    <a:pt x="653" y="0"/>
                  </a:moveTo>
                  <a:lnTo>
                    <a:pt x="653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4"/>
                  </a:cubicBezTo>
                  <a:cubicBezTo>
                    <a:pt x="0" y="653"/>
                    <a:pt x="0" y="653"/>
                    <a:pt x="0" y="653"/>
                  </a:cubicBezTo>
                  <a:cubicBezTo>
                    <a:pt x="272" y="653"/>
                    <a:pt x="272" y="653"/>
                    <a:pt x="272" y="653"/>
                  </a:cubicBezTo>
                  <a:cubicBezTo>
                    <a:pt x="272" y="450"/>
                    <a:pt x="272" y="450"/>
                    <a:pt x="272" y="450"/>
                  </a:cubicBezTo>
                  <a:cubicBezTo>
                    <a:pt x="380" y="450"/>
                    <a:pt x="380" y="450"/>
                    <a:pt x="380" y="450"/>
                  </a:cubicBezTo>
                  <a:cubicBezTo>
                    <a:pt x="380" y="653"/>
                    <a:pt x="380" y="653"/>
                    <a:pt x="380" y="653"/>
                  </a:cubicBezTo>
                  <a:cubicBezTo>
                    <a:pt x="653" y="653"/>
                    <a:pt x="653" y="653"/>
                    <a:pt x="653" y="653"/>
                  </a:cubicBezTo>
                  <a:cubicBezTo>
                    <a:pt x="653" y="14"/>
                    <a:pt x="653" y="14"/>
                    <a:pt x="653" y="14"/>
                  </a:cubicBezTo>
                  <a:cubicBezTo>
                    <a:pt x="653" y="0"/>
                    <a:pt x="653" y="0"/>
                    <a:pt x="653" y="0"/>
                  </a:cubicBezTo>
                  <a:close/>
                  <a:moveTo>
                    <a:pt x="177" y="450"/>
                  </a:moveTo>
                  <a:lnTo>
                    <a:pt x="177" y="450"/>
                  </a:lnTo>
                  <a:cubicBezTo>
                    <a:pt x="177" y="558"/>
                    <a:pt x="177" y="558"/>
                    <a:pt x="177" y="558"/>
                  </a:cubicBezTo>
                  <a:cubicBezTo>
                    <a:pt x="81" y="558"/>
                    <a:pt x="81" y="558"/>
                    <a:pt x="81" y="558"/>
                  </a:cubicBezTo>
                  <a:cubicBezTo>
                    <a:pt x="81" y="450"/>
                    <a:pt x="81" y="450"/>
                    <a:pt x="81" y="450"/>
                  </a:cubicBezTo>
                  <a:lnTo>
                    <a:pt x="177" y="450"/>
                  </a:lnTo>
                  <a:close/>
                  <a:moveTo>
                    <a:pt x="81" y="368"/>
                  </a:moveTo>
                  <a:lnTo>
                    <a:pt x="81" y="368"/>
                  </a:lnTo>
                  <a:cubicBezTo>
                    <a:pt x="81" y="259"/>
                    <a:pt x="81" y="259"/>
                    <a:pt x="81" y="259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7" y="368"/>
                    <a:pt x="177" y="368"/>
                    <a:pt x="177" y="368"/>
                  </a:cubicBezTo>
                  <a:lnTo>
                    <a:pt x="81" y="368"/>
                  </a:lnTo>
                  <a:close/>
                  <a:moveTo>
                    <a:pt x="81" y="177"/>
                  </a:moveTo>
                  <a:lnTo>
                    <a:pt x="81" y="177"/>
                  </a:lnTo>
                  <a:cubicBezTo>
                    <a:pt x="81" y="68"/>
                    <a:pt x="81" y="68"/>
                    <a:pt x="81" y="68"/>
                  </a:cubicBezTo>
                  <a:cubicBezTo>
                    <a:pt x="177" y="68"/>
                    <a:pt x="177" y="68"/>
                    <a:pt x="177" y="68"/>
                  </a:cubicBezTo>
                  <a:cubicBezTo>
                    <a:pt x="177" y="177"/>
                    <a:pt x="177" y="177"/>
                    <a:pt x="177" y="177"/>
                  </a:cubicBezTo>
                  <a:lnTo>
                    <a:pt x="81" y="177"/>
                  </a:lnTo>
                  <a:close/>
                  <a:moveTo>
                    <a:pt x="380" y="259"/>
                  </a:moveTo>
                  <a:lnTo>
                    <a:pt x="380" y="259"/>
                  </a:lnTo>
                  <a:cubicBezTo>
                    <a:pt x="380" y="368"/>
                    <a:pt x="380" y="368"/>
                    <a:pt x="380" y="368"/>
                  </a:cubicBezTo>
                  <a:cubicBezTo>
                    <a:pt x="272" y="368"/>
                    <a:pt x="272" y="368"/>
                    <a:pt x="272" y="368"/>
                  </a:cubicBezTo>
                  <a:cubicBezTo>
                    <a:pt x="272" y="259"/>
                    <a:pt x="272" y="259"/>
                    <a:pt x="272" y="259"/>
                  </a:cubicBezTo>
                  <a:lnTo>
                    <a:pt x="380" y="259"/>
                  </a:lnTo>
                  <a:close/>
                  <a:moveTo>
                    <a:pt x="272" y="177"/>
                  </a:moveTo>
                  <a:lnTo>
                    <a:pt x="272" y="177"/>
                  </a:lnTo>
                  <a:cubicBezTo>
                    <a:pt x="272" y="68"/>
                    <a:pt x="272" y="68"/>
                    <a:pt x="272" y="68"/>
                  </a:cubicBezTo>
                  <a:cubicBezTo>
                    <a:pt x="380" y="68"/>
                    <a:pt x="380" y="68"/>
                    <a:pt x="380" y="68"/>
                  </a:cubicBezTo>
                  <a:cubicBezTo>
                    <a:pt x="380" y="177"/>
                    <a:pt x="380" y="177"/>
                    <a:pt x="380" y="177"/>
                  </a:cubicBezTo>
                  <a:lnTo>
                    <a:pt x="272" y="177"/>
                  </a:lnTo>
                  <a:close/>
                  <a:moveTo>
                    <a:pt x="571" y="450"/>
                  </a:moveTo>
                  <a:lnTo>
                    <a:pt x="571" y="450"/>
                  </a:lnTo>
                  <a:cubicBezTo>
                    <a:pt x="571" y="558"/>
                    <a:pt x="571" y="558"/>
                    <a:pt x="571" y="558"/>
                  </a:cubicBezTo>
                  <a:cubicBezTo>
                    <a:pt x="476" y="558"/>
                    <a:pt x="476" y="558"/>
                    <a:pt x="476" y="558"/>
                  </a:cubicBezTo>
                  <a:cubicBezTo>
                    <a:pt x="476" y="450"/>
                    <a:pt x="476" y="450"/>
                    <a:pt x="476" y="450"/>
                  </a:cubicBezTo>
                  <a:lnTo>
                    <a:pt x="571" y="450"/>
                  </a:lnTo>
                  <a:close/>
                  <a:moveTo>
                    <a:pt x="476" y="368"/>
                  </a:moveTo>
                  <a:lnTo>
                    <a:pt x="476" y="368"/>
                  </a:lnTo>
                  <a:cubicBezTo>
                    <a:pt x="476" y="259"/>
                    <a:pt x="476" y="259"/>
                    <a:pt x="476" y="259"/>
                  </a:cubicBezTo>
                  <a:cubicBezTo>
                    <a:pt x="571" y="259"/>
                    <a:pt x="571" y="259"/>
                    <a:pt x="571" y="259"/>
                  </a:cubicBezTo>
                  <a:cubicBezTo>
                    <a:pt x="571" y="368"/>
                    <a:pt x="571" y="368"/>
                    <a:pt x="571" y="368"/>
                  </a:cubicBezTo>
                  <a:lnTo>
                    <a:pt x="476" y="368"/>
                  </a:lnTo>
                  <a:close/>
                  <a:moveTo>
                    <a:pt x="476" y="177"/>
                  </a:moveTo>
                  <a:lnTo>
                    <a:pt x="476" y="177"/>
                  </a:lnTo>
                  <a:cubicBezTo>
                    <a:pt x="476" y="68"/>
                    <a:pt x="476" y="68"/>
                    <a:pt x="476" y="68"/>
                  </a:cubicBezTo>
                  <a:cubicBezTo>
                    <a:pt x="571" y="68"/>
                    <a:pt x="571" y="68"/>
                    <a:pt x="571" y="68"/>
                  </a:cubicBezTo>
                  <a:cubicBezTo>
                    <a:pt x="571" y="177"/>
                    <a:pt x="571" y="177"/>
                    <a:pt x="571" y="177"/>
                  </a:cubicBezTo>
                  <a:lnTo>
                    <a:pt x="476" y="1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none" lIns="75868" tIns="37945" rIns="75868" bIns="37945" anchor="ctr"/>
            <a:lstStyle/>
            <a:p>
              <a:endParaRPr lang="en-US" sz="900">
                <a:latin typeface="Arial" panose="020B0604020202090204" pitchFamily="34" charset="0"/>
                <a:ea typeface="微软雅黑" panose="020B0503020204020204" pitchFamily="34" charset="-122"/>
                <a:cs typeface="Lato Light"/>
                <a:sym typeface="Arial" panose="020B0604020202090204" pitchFamily="34" charset="0"/>
              </a:endParaRPr>
            </a:p>
          </p:txBody>
        </p:sp>
        <p:grpSp>
          <p:nvGrpSpPr>
            <p:cNvPr id="22" name="Group 67"/>
            <p:cNvGrpSpPr/>
            <p:nvPr/>
          </p:nvGrpSpPr>
          <p:grpSpPr>
            <a:xfrm>
              <a:off x="15607551" y="9704047"/>
              <a:ext cx="789822" cy="829308"/>
              <a:chOff x="6550342" y="10834538"/>
              <a:chExt cx="593638" cy="623070"/>
            </a:xfrm>
            <a:solidFill>
              <a:srgbClr val="FFFFFF"/>
            </a:solidFill>
          </p:grpSpPr>
          <p:sp>
            <p:nvSpPr>
              <p:cNvPr id="30" name="Freeform 220"/>
              <p:cNvSpPr>
                <a:spLocks noChangeArrowheads="1"/>
              </p:cNvSpPr>
              <p:nvPr/>
            </p:nvSpPr>
            <p:spPr bwMode="auto">
              <a:xfrm>
                <a:off x="6550342" y="10834540"/>
                <a:ext cx="209028" cy="401438"/>
              </a:xfrm>
              <a:custGeom>
                <a:avLst/>
                <a:gdLst>
                  <a:gd name="T0" fmla="*/ 218 w 219"/>
                  <a:gd name="T1" fmla="*/ 136 h 423"/>
                  <a:gd name="T2" fmla="*/ 218 w 219"/>
                  <a:gd name="T3" fmla="*/ 136 h 423"/>
                  <a:gd name="T4" fmla="*/ 54 w 219"/>
                  <a:gd name="T5" fmla="*/ 0 h 423"/>
                  <a:gd name="T6" fmla="*/ 0 w 219"/>
                  <a:gd name="T7" fmla="*/ 0 h 423"/>
                  <a:gd name="T8" fmla="*/ 0 w 219"/>
                  <a:gd name="T9" fmla="*/ 422 h 423"/>
                  <a:gd name="T10" fmla="*/ 41 w 219"/>
                  <a:gd name="T11" fmla="*/ 381 h 423"/>
                  <a:gd name="T12" fmla="*/ 54 w 219"/>
                  <a:gd name="T13" fmla="*/ 381 h 423"/>
                  <a:gd name="T14" fmla="*/ 218 w 219"/>
                  <a:gd name="T15" fmla="*/ 163 h 423"/>
                  <a:gd name="T16" fmla="*/ 218 w 219"/>
                  <a:gd name="T17" fmla="*/ 136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9" h="423">
                    <a:moveTo>
                      <a:pt x="218" y="136"/>
                    </a:moveTo>
                    <a:lnTo>
                      <a:pt x="218" y="136"/>
                    </a:lnTo>
                    <a:cubicBezTo>
                      <a:pt x="54" y="0"/>
                      <a:pt x="54" y="0"/>
                      <a:pt x="5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2"/>
                      <a:pt x="0" y="422"/>
                      <a:pt x="0" y="422"/>
                    </a:cubicBezTo>
                    <a:cubicBezTo>
                      <a:pt x="41" y="381"/>
                      <a:pt x="41" y="381"/>
                      <a:pt x="41" y="381"/>
                    </a:cubicBezTo>
                    <a:cubicBezTo>
                      <a:pt x="41" y="381"/>
                      <a:pt x="41" y="381"/>
                      <a:pt x="54" y="381"/>
                    </a:cubicBezTo>
                    <a:cubicBezTo>
                      <a:pt x="218" y="163"/>
                      <a:pt x="218" y="163"/>
                      <a:pt x="218" y="163"/>
                    </a:cubicBezTo>
                    <a:lnTo>
                      <a:pt x="218" y="136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1" name="Freeform 221"/>
              <p:cNvSpPr>
                <a:spLocks noChangeArrowheads="1"/>
              </p:cNvSpPr>
              <p:nvPr/>
            </p:nvSpPr>
            <p:spPr bwMode="auto">
              <a:xfrm>
                <a:off x="6654855" y="11311249"/>
                <a:ext cx="50167" cy="37636"/>
              </a:xfrm>
              <a:custGeom>
                <a:avLst/>
                <a:gdLst>
                  <a:gd name="T0" fmla="*/ 26 w 55"/>
                  <a:gd name="T1" fmla="*/ 0 h 41"/>
                  <a:gd name="T2" fmla="*/ 26 w 55"/>
                  <a:gd name="T3" fmla="*/ 0 h 41"/>
                  <a:gd name="T4" fmla="*/ 12 w 55"/>
                  <a:gd name="T5" fmla="*/ 0 h 41"/>
                  <a:gd name="T6" fmla="*/ 12 w 55"/>
                  <a:gd name="T7" fmla="*/ 27 h 41"/>
                  <a:gd name="T8" fmla="*/ 40 w 55"/>
                  <a:gd name="T9" fmla="*/ 27 h 41"/>
                  <a:gd name="T10" fmla="*/ 40 w 55"/>
                  <a:gd name="T11" fmla="*/ 0 h 41"/>
                  <a:gd name="T12" fmla="*/ 26 w 55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1">
                    <a:moveTo>
                      <a:pt x="26" y="0"/>
                    </a:moveTo>
                    <a:lnTo>
                      <a:pt x="26" y="0"/>
                    </a:lnTo>
                    <a:lnTo>
                      <a:pt x="12" y="0"/>
                    </a:lnTo>
                    <a:cubicBezTo>
                      <a:pt x="0" y="12"/>
                      <a:pt x="12" y="27"/>
                      <a:pt x="12" y="27"/>
                    </a:cubicBezTo>
                    <a:cubicBezTo>
                      <a:pt x="26" y="40"/>
                      <a:pt x="40" y="40"/>
                      <a:pt x="40" y="27"/>
                    </a:cubicBezTo>
                    <a:cubicBezTo>
                      <a:pt x="54" y="12"/>
                      <a:pt x="54" y="0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2" name="Freeform 222"/>
              <p:cNvSpPr>
                <a:spLocks noChangeArrowheads="1"/>
              </p:cNvSpPr>
              <p:nvPr/>
            </p:nvSpPr>
            <p:spPr bwMode="auto">
              <a:xfrm>
                <a:off x="6604690" y="11261068"/>
                <a:ext cx="54346" cy="54363"/>
              </a:xfrm>
              <a:custGeom>
                <a:avLst/>
                <a:gdLst>
                  <a:gd name="T0" fmla="*/ 28 w 57"/>
                  <a:gd name="T1" fmla="*/ 0 h 56"/>
                  <a:gd name="T2" fmla="*/ 28 w 57"/>
                  <a:gd name="T3" fmla="*/ 0 h 56"/>
                  <a:gd name="T4" fmla="*/ 14 w 57"/>
                  <a:gd name="T5" fmla="*/ 13 h 56"/>
                  <a:gd name="T6" fmla="*/ 14 w 57"/>
                  <a:gd name="T7" fmla="*/ 41 h 56"/>
                  <a:gd name="T8" fmla="*/ 42 w 57"/>
                  <a:gd name="T9" fmla="*/ 41 h 56"/>
                  <a:gd name="T10" fmla="*/ 42 w 57"/>
                  <a:gd name="T11" fmla="*/ 13 h 56"/>
                  <a:gd name="T12" fmla="*/ 28 w 57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56">
                    <a:moveTo>
                      <a:pt x="28" y="0"/>
                    </a:moveTo>
                    <a:lnTo>
                      <a:pt x="28" y="0"/>
                    </a:lnTo>
                    <a:lnTo>
                      <a:pt x="14" y="13"/>
                    </a:lnTo>
                    <a:cubicBezTo>
                      <a:pt x="0" y="27"/>
                      <a:pt x="14" y="41"/>
                      <a:pt x="14" y="41"/>
                    </a:cubicBezTo>
                    <a:cubicBezTo>
                      <a:pt x="28" y="55"/>
                      <a:pt x="42" y="55"/>
                      <a:pt x="42" y="41"/>
                    </a:cubicBezTo>
                    <a:cubicBezTo>
                      <a:pt x="56" y="27"/>
                      <a:pt x="56" y="13"/>
                      <a:pt x="42" y="13"/>
                    </a:cubicBezTo>
                    <a:cubicBezTo>
                      <a:pt x="42" y="0"/>
                      <a:pt x="42" y="0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3" name="Freeform 223"/>
              <p:cNvSpPr>
                <a:spLocks noChangeArrowheads="1"/>
              </p:cNvSpPr>
              <p:nvPr/>
            </p:nvSpPr>
            <p:spPr bwMode="auto">
              <a:xfrm>
                <a:off x="6964218" y="10834538"/>
                <a:ext cx="179762" cy="334532"/>
              </a:xfrm>
              <a:custGeom>
                <a:avLst/>
                <a:gdLst>
                  <a:gd name="T0" fmla="*/ 108 w 191"/>
                  <a:gd name="T1" fmla="*/ 0 h 354"/>
                  <a:gd name="T2" fmla="*/ 0 w 191"/>
                  <a:gd name="T3" fmla="*/ 122 h 354"/>
                  <a:gd name="T4" fmla="*/ 190 w 191"/>
                  <a:gd name="T5" fmla="*/ 353 h 354"/>
                  <a:gd name="T6" fmla="*/ 190 w 191"/>
                  <a:gd name="T7" fmla="*/ 0 h 354"/>
                  <a:gd name="T8" fmla="*/ 108 w 191"/>
                  <a:gd name="T9" fmla="*/ 0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354">
                    <a:moveTo>
                      <a:pt x="108" y="0"/>
                    </a:moveTo>
                    <a:lnTo>
                      <a:pt x="0" y="122"/>
                    </a:lnTo>
                    <a:lnTo>
                      <a:pt x="190" y="353"/>
                    </a:lnTo>
                    <a:lnTo>
                      <a:pt x="190" y="0"/>
                    </a:lnTo>
                    <a:lnTo>
                      <a:pt x="108" y="0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4" name="Freeform 224"/>
              <p:cNvSpPr>
                <a:spLocks noChangeArrowheads="1"/>
              </p:cNvSpPr>
              <p:nvPr/>
            </p:nvSpPr>
            <p:spPr bwMode="auto">
              <a:xfrm>
                <a:off x="6705022" y="11348885"/>
                <a:ext cx="50167" cy="41816"/>
              </a:xfrm>
              <a:custGeom>
                <a:avLst/>
                <a:gdLst>
                  <a:gd name="T0" fmla="*/ 26 w 55"/>
                  <a:gd name="T1" fmla="*/ 0 h 42"/>
                  <a:gd name="T2" fmla="*/ 26 w 55"/>
                  <a:gd name="T3" fmla="*/ 0 h 42"/>
                  <a:gd name="T4" fmla="*/ 14 w 55"/>
                  <a:gd name="T5" fmla="*/ 0 h 42"/>
                  <a:gd name="T6" fmla="*/ 14 w 55"/>
                  <a:gd name="T7" fmla="*/ 41 h 42"/>
                  <a:gd name="T8" fmla="*/ 40 w 55"/>
                  <a:gd name="T9" fmla="*/ 28 h 42"/>
                  <a:gd name="T10" fmla="*/ 40 w 55"/>
                  <a:gd name="T11" fmla="*/ 0 h 42"/>
                  <a:gd name="T12" fmla="*/ 26 w 5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2">
                    <a:moveTo>
                      <a:pt x="26" y="0"/>
                    </a:moveTo>
                    <a:lnTo>
                      <a:pt x="26" y="0"/>
                    </a:lnTo>
                    <a:lnTo>
                      <a:pt x="14" y="0"/>
                    </a:lnTo>
                    <a:cubicBezTo>
                      <a:pt x="0" y="14"/>
                      <a:pt x="14" y="28"/>
                      <a:pt x="14" y="41"/>
                    </a:cubicBezTo>
                    <a:cubicBezTo>
                      <a:pt x="26" y="41"/>
                      <a:pt x="40" y="41"/>
                      <a:pt x="40" y="28"/>
                    </a:cubicBezTo>
                    <a:cubicBezTo>
                      <a:pt x="54" y="28"/>
                      <a:pt x="54" y="14"/>
                      <a:pt x="40" y="0"/>
                    </a:cubicBezTo>
                    <a:cubicBezTo>
                      <a:pt x="40" y="0"/>
                      <a:pt x="40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5" name="Freeform 225"/>
              <p:cNvSpPr>
                <a:spLocks noChangeArrowheads="1"/>
              </p:cNvSpPr>
              <p:nvPr/>
            </p:nvSpPr>
            <p:spPr bwMode="auto">
              <a:xfrm>
                <a:off x="6759368" y="10976718"/>
                <a:ext cx="351166" cy="246719"/>
              </a:xfrm>
              <a:custGeom>
                <a:avLst/>
                <a:gdLst>
                  <a:gd name="T0" fmla="*/ 14 w 369"/>
                  <a:gd name="T1" fmla="*/ 135 h 259"/>
                  <a:gd name="T2" fmla="*/ 14 w 369"/>
                  <a:gd name="T3" fmla="*/ 135 h 259"/>
                  <a:gd name="T4" fmla="*/ 0 w 369"/>
                  <a:gd name="T5" fmla="*/ 177 h 259"/>
                  <a:gd name="T6" fmla="*/ 41 w 369"/>
                  <a:gd name="T7" fmla="*/ 177 h 259"/>
                  <a:gd name="T8" fmla="*/ 123 w 369"/>
                  <a:gd name="T9" fmla="*/ 109 h 259"/>
                  <a:gd name="T10" fmla="*/ 123 w 369"/>
                  <a:gd name="T11" fmla="*/ 109 h 259"/>
                  <a:gd name="T12" fmla="*/ 135 w 369"/>
                  <a:gd name="T13" fmla="*/ 109 h 259"/>
                  <a:gd name="T14" fmla="*/ 135 w 369"/>
                  <a:gd name="T15" fmla="*/ 109 h 259"/>
                  <a:gd name="T16" fmla="*/ 135 w 369"/>
                  <a:gd name="T17" fmla="*/ 109 h 259"/>
                  <a:gd name="T18" fmla="*/ 135 w 369"/>
                  <a:gd name="T19" fmla="*/ 109 h 259"/>
                  <a:gd name="T20" fmla="*/ 135 w 369"/>
                  <a:gd name="T21" fmla="*/ 109 h 259"/>
                  <a:gd name="T22" fmla="*/ 231 w 369"/>
                  <a:gd name="T23" fmla="*/ 191 h 259"/>
                  <a:gd name="T24" fmla="*/ 231 w 369"/>
                  <a:gd name="T25" fmla="*/ 191 h 259"/>
                  <a:gd name="T26" fmla="*/ 300 w 369"/>
                  <a:gd name="T27" fmla="*/ 258 h 259"/>
                  <a:gd name="T28" fmla="*/ 368 w 369"/>
                  <a:gd name="T29" fmla="*/ 203 h 259"/>
                  <a:gd name="T30" fmla="*/ 204 w 369"/>
                  <a:gd name="T31" fmla="*/ 0 h 259"/>
                  <a:gd name="T32" fmla="*/ 14 w 369"/>
                  <a:gd name="T33" fmla="*/ 135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9" h="259">
                    <a:moveTo>
                      <a:pt x="14" y="135"/>
                    </a:moveTo>
                    <a:lnTo>
                      <a:pt x="14" y="135"/>
                    </a:lnTo>
                    <a:cubicBezTo>
                      <a:pt x="0" y="135"/>
                      <a:pt x="0" y="163"/>
                      <a:pt x="0" y="177"/>
                    </a:cubicBezTo>
                    <a:cubicBezTo>
                      <a:pt x="14" y="177"/>
                      <a:pt x="41" y="177"/>
                      <a:pt x="41" y="177"/>
                    </a:cubicBezTo>
                    <a:cubicBezTo>
                      <a:pt x="55" y="163"/>
                      <a:pt x="109" y="109"/>
                      <a:pt x="123" y="109"/>
                    </a:cubicBezTo>
                    <a:lnTo>
                      <a:pt x="123" y="109"/>
                    </a:lnTo>
                    <a:cubicBezTo>
                      <a:pt x="123" y="109"/>
                      <a:pt x="123" y="109"/>
                      <a:pt x="135" y="109"/>
                    </a:cubicBez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lnTo>
                      <a:pt x="135" y="109"/>
                    </a:lnTo>
                    <a:cubicBezTo>
                      <a:pt x="231" y="191"/>
                      <a:pt x="231" y="191"/>
                      <a:pt x="231" y="191"/>
                    </a:cubicBezTo>
                    <a:lnTo>
                      <a:pt x="231" y="191"/>
                    </a:lnTo>
                    <a:cubicBezTo>
                      <a:pt x="300" y="258"/>
                      <a:pt x="300" y="258"/>
                      <a:pt x="300" y="258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177" y="13"/>
                      <a:pt x="55" y="67"/>
                      <a:pt x="14" y="13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6" name="Freeform 226"/>
              <p:cNvSpPr>
                <a:spLocks noChangeArrowheads="1"/>
              </p:cNvSpPr>
              <p:nvPr/>
            </p:nvSpPr>
            <p:spPr bwMode="auto">
              <a:xfrm>
                <a:off x="6629773" y="11001807"/>
                <a:ext cx="438957" cy="426529"/>
              </a:xfrm>
              <a:custGeom>
                <a:avLst/>
                <a:gdLst>
                  <a:gd name="T0" fmla="*/ 259 w 463"/>
                  <a:gd name="T1" fmla="*/ 108 h 450"/>
                  <a:gd name="T2" fmla="*/ 259 w 463"/>
                  <a:gd name="T3" fmla="*/ 108 h 450"/>
                  <a:gd name="T4" fmla="*/ 204 w 463"/>
                  <a:gd name="T5" fmla="*/ 164 h 450"/>
                  <a:gd name="T6" fmla="*/ 122 w 463"/>
                  <a:gd name="T7" fmla="*/ 164 h 450"/>
                  <a:gd name="T8" fmla="*/ 122 w 463"/>
                  <a:gd name="T9" fmla="*/ 94 h 450"/>
                  <a:gd name="T10" fmla="*/ 217 w 463"/>
                  <a:gd name="T11" fmla="*/ 0 h 450"/>
                  <a:gd name="T12" fmla="*/ 150 w 463"/>
                  <a:gd name="T13" fmla="*/ 13 h 450"/>
                  <a:gd name="T14" fmla="*/ 0 w 463"/>
                  <a:gd name="T15" fmla="*/ 218 h 450"/>
                  <a:gd name="T16" fmla="*/ 271 w 463"/>
                  <a:gd name="T17" fmla="*/ 449 h 450"/>
                  <a:gd name="T18" fmla="*/ 286 w 463"/>
                  <a:gd name="T19" fmla="*/ 449 h 450"/>
                  <a:gd name="T20" fmla="*/ 286 w 463"/>
                  <a:gd name="T21" fmla="*/ 449 h 450"/>
                  <a:gd name="T22" fmla="*/ 299 w 463"/>
                  <a:gd name="T23" fmla="*/ 449 h 450"/>
                  <a:gd name="T24" fmla="*/ 313 w 463"/>
                  <a:gd name="T25" fmla="*/ 435 h 450"/>
                  <a:gd name="T26" fmla="*/ 299 w 463"/>
                  <a:gd name="T27" fmla="*/ 422 h 450"/>
                  <a:gd name="T28" fmla="*/ 204 w 463"/>
                  <a:gd name="T29" fmla="*/ 339 h 450"/>
                  <a:gd name="T30" fmla="*/ 204 w 463"/>
                  <a:gd name="T31" fmla="*/ 313 h 450"/>
                  <a:gd name="T32" fmla="*/ 231 w 463"/>
                  <a:gd name="T33" fmla="*/ 313 h 450"/>
                  <a:gd name="T34" fmla="*/ 245 w 463"/>
                  <a:gd name="T35" fmla="*/ 327 h 450"/>
                  <a:gd name="T36" fmla="*/ 245 w 463"/>
                  <a:gd name="T37" fmla="*/ 327 h 450"/>
                  <a:gd name="T38" fmla="*/ 327 w 463"/>
                  <a:gd name="T39" fmla="*/ 395 h 450"/>
                  <a:gd name="T40" fmla="*/ 327 w 463"/>
                  <a:gd name="T41" fmla="*/ 395 h 450"/>
                  <a:gd name="T42" fmla="*/ 340 w 463"/>
                  <a:gd name="T43" fmla="*/ 408 h 450"/>
                  <a:gd name="T44" fmla="*/ 354 w 463"/>
                  <a:gd name="T45" fmla="*/ 408 h 450"/>
                  <a:gd name="T46" fmla="*/ 367 w 463"/>
                  <a:gd name="T47" fmla="*/ 408 h 450"/>
                  <a:gd name="T48" fmla="*/ 367 w 463"/>
                  <a:gd name="T49" fmla="*/ 381 h 450"/>
                  <a:gd name="T50" fmla="*/ 271 w 463"/>
                  <a:gd name="T51" fmla="*/ 299 h 450"/>
                  <a:gd name="T52" fmla="*/ 271 w 463"/>
                  <a:gd name="T53" fmla="*/ 272 h 450"/>
                  <a:gd name="T54" fmla="*/ 286 w 463"/>
                  <a:gd name="T55" fmla="*/ 272 h 450"/>
                  <a:gd name="T56" fmla="*/ 299 w 463"/>
                  <a:gd name="T57" fmla="*/ 285 h 450"/>
                  <a:gd name="T58" fmla="*/ 381 w 463"/>
                  <a:gd name="T59" fmla="*/ 354 h 450"/>
                  <a:gd name="T60" fmla="*/ 381 w 463"/>
                  <a:gd name="T61" fmla="*/ 367 h 450"/>
                  <a:gd name="T62" fmla="*/ 394 w 463"/>
                  <a:gd name="T63" fmla="*/ 367 h 450"/>
                  <a:gd name="T64" fmla="*/ 394 w 463"/>
                  <a:gd name="T65" fmla="*/ 367 h 450"/>
                  <a:gd name="T66" fmla="*/ 394 w 463"/>
                  <a:gd name="T67" fmla="*/ 367 h 450"/>
                  <a:gd name="T68" fmla="*/ 394 w 463"/>
                  <a:gd name="T69" fmla="*/ 367 h 450"/>
                  <a:gd name="T70" fmla="*/ 394 w 463"/>
                  <a:gd name="T71" fmla="*/ 367 h 450"/>
                  <a:gd name="T72" fmla="*/ 408 w 463"/>
                  <a:gd name="T73" fmla="*/ 354 h 450"/>
                  <a:gd name="T74" fmla="*/ 408 w 463"/>
                  <a:gd name="T75" fmla="*/ 327 h 450"/>
                  <a:gd name="T76" fmla="*/ 313 w 463"/>
                  <a:gd name="T77" fmla="*/ 245 h 450"/>
                  <a:gd name="T78" fmla="*/ 313 w 463"/>
                  <a:gd name="T79" fmla="*/ 245 h 450"/>
                  <a:gd name="T80" fmla="*/ 313 w 463"/>
                  <a:gd name="T81" fmla="*/ 245 h 450"/>
                  <a:gd name="T82" fmla="*/ 313 w 463"/>
                  <a:gd name="T83" fmla="*/ 218 h 450"/>
                  <a:gd name="T84" fmla="*/ 327 w 463"/>
                  <a:gd name="T85" fmla="*/ 218 h 450"/>
                  <a:gd name="T86" fmla="*/ 422 w 463"/>
                  <a:gd name="T87" fmla="*/ 299 h 450"/>
                  <a:gd name="T88" fmla="*/ 422 w 463"/>
                  <a:gd name="T89" fmla="*/ 299 h 450"/>
                  <a:gd name="T90" fmla="*/ 436 w 463"/>
                  <a:gd name="T91" fmla="*/ 299 h 450"/>
                  <a:gd name="T92" fmla="*/ 436 w 463"/>
                  <a:gd name="T93" fmla="*/ 299 h 450"/>
                  <a:gd name="T94" fmla="*/ 450 w 463"/>
                  <a:gd name="T95" fmla="*/ 299 h 450"/>
                  <a:gd name="T96" fmla="*/ 450 w 463"/>
                  <a:gd name="T97" fmla="*/ 272 h 450"/>
                  <a:gd name="T98" fmla="*/ 259 w 463"/>
                  <a:gd name="T99" fmla="*/ 108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63" h="450">
                    <a:moveTo>
                      <a:pt x="259" y="108"/>
                    </a:moveTo>
                    <a:lnTo>
                      <a:pt x="259" y="108"/>
                    </a:lnTo>
                    <a:cubicBezTo>
                      <a:pt x="245" y="122"/>
                      <a:pt x="217" y="136"/>
                      <a:pt x="204" y="164"/>
                    </a:cubicBezTo>
                    <a:cubicBezTo>
                      <a:pt x="177" y="190"/>
                      <a:pt x="150" y="190"/>
                      <a:pt x="122" y="164"/>
                    </a:cubicBezTo>
                    <a:cubicBezTo>
                      <a:pt x="96" y="150"/>
                      <a:pt x="108" y="108"/>
                      <a:pt x="122" y="94"/>
                    </a:cubicBezTo>
                    <a:cubicBezTo>
                      <a:pt x="136" y="54"/>
                      <a:pt x="177" y="27"/>
                      <a:pt x="217" y="0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271" y="449"/>
                      <a:pt x="271" y="449"/>
                      <a:pt x="271" y="449"/>
                    </a:cubicBezTo>
                    <a:cubicBezTo>
                      <a:pt x="286" y="449"/>
                      <a:pt x="286" y="449"/>
                      <a:pt x="286" y="449"/>
                    </a:cubicBezTo>
                    <a:lnTo>
                      <a:pt x="286" y="449"/>
                    </a:lnTo>
                    <a:cubicBezTo>
                      <a:pt x="299" y="449"/>
                      <a:pt x="299" y="449"/>
                      <a:pt x="299" y="449"/>
                    </a:cubicBezTo>
                    <a:cubicBezTo>
                      <a:pt x="313" y="435"/>
                      <a:pt x="313" y="435"/>
                      <a:pt x="313" y="435"/>
                    </a:cubicBezTo>
                    <a:cubicBezTo>
                      <a:pt x="313" y="422"/>
                      <a:pt x="313" y="422"/>
                      <a:pt x="299" y="422"/>
                    </a:cubicBezTo>
                    <a:cubicBezTo>
                      <a:pt x="204" y="339"/>
                      <a:pt x="204" y="339"/>
                      <a:pt x="204" y="339"/>
                    </a:cubicBezTo>
                    <a:cubicBezTo>
                      <a:pt x="204" y="339"/>
                      <a:pt x="204" y="327"/>
                      <a:pt x="204" y="313"/>
                    </a:cubicBezTo>
                    <a:cubicBezTo>
                      <a:pt x="217" y="313"/>
                      <a:pt x="217" y="313"/>
                      <a:pt x="231" y="313"/>
                    </a:cubicBezTo>
                    <a:cubicBezTo>
                      <a:pt x="245" y="327"/>
                      <a:pt x="245" y="327"/>
                      <a:pt x="245" y="327"/>
                    </a:cubicBezTo>
                    <a:lnTo>
                      <a:pt x="245" y="327"/>
                    </a:lnTo>
                    <a:cubicBezTo>
                      <a:pt x="327" y="395"/>
                      <a:pt x="327" y="395"/>
                      <a:pt x="327" y="395"/>
                    </a:cubicBezTo>
                    <a:lnTo>
                      <a:pt x="327" y="395"/>
                    </a:lnTo>
                    <a:cubicBezTo>
                      <a:pt x="340" y="408"/>
                      <a:pt x="340" y="408"/>
                      <a:pt x="340" y="408"/>
                    </a:cubicBezTo>
                    <a:cubicBezTo>
                      <a:pt x="340" y="408"/>
                      <a:pt x="340" y="408"/>
                      <a:pt x="354" y="408"/>
                    </a:cubicBezTo>
                    <a:cubicBezTo>
                      <a:pt x="354" y="408"/>
                      <a:pt x="354" y="408"/>
                      <a:pt x="367" y="408"/>
                    </a:cubicBezTo>
                    <a:cubicBezTo>
                      <a:pt x="367" y="395"/>
                      <a:pt x="367" y="381"/>
                      <a:pt x="367" y="381"/>
                    </a:cubicBezTo>
                    <a:cubicBezTo>
                      <a:pt x="271" y="299"/>
                      <a:pt x="271" y="299"/>
                      <a:pt x="271" y="299"/>
                    </a:cubicBezTo>
                    <a:cubicBezTo>
                      <a:pt x="259" y="285"/>
                      <a:pt x="259" y="285"/>
                      <a:pt x="271" y="272"/>
                    </a:cubicBezTo>
                    <a:lnTo>
                      <a:pt x="286" y="272"/>
                    </a:lnTo>
                    <a:cubicBezTo>
                      <a:pt x="299" y="285"/>
                      <a:pt x="299" y="285"/>
                      <a:pt x="299" y="285"/>
                    </a:cubicBezTo>
                    <a:cubicBezTo>
                      <a:pt x="381" y="354"/>
                      <a:pt x="381" y="354"/>
                      <a:pt x="381" y="354"/>
                    </a:cubicBezTo>
                    <a:cubicBezTo>
                      <a:pt x="381" y="367"/>
                      <a:pt x="381" y="367"/>
                      <a:pt x="381" y="367"/>
                    </a:cubicBezTo>
                    <a:cubicBezTo>
                      <a:pt x="394" y="367"/>
                      <a:pt x="394" y="367"/>
                      <a:pt x="394" y="367"/>
                    </a:cubicBez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lnTo>
                      <a:pt x="394" y="367"/>
                    </a:lnTo>
                    <a:cubicBezTo>
                      <a:pt x="408" y="367"/>
                      <a:pt x="408" y="354"/>
                      <a:pt x="408" y="354"/>
                    </a:cubicBezTo>
                    <a:cubicBezTo>
                      <a:pt x="422" y="339"/>
                      <a:pt x="422" y="339"/>
                      <a:pt x="408" y="327"/>
                    </a:cubicBezTo>
                    <a:cubicBezTo>
                      <a:pt x="313" y="245"/>
                      <a:pt x="313" y="245"/>
                      <a:pt x="313" y="245"/>
                    </a:cubicBezTo>
                    <a:lnTo>
                      <a:pt x="313" y="245"/>
                    </a:lnTo>
                    <a:lnTo>
                      <a:pt x="313" y="245"/>
                    </a:lnTo>
                    <a:cubicBezTo>
                      <a:pt x="299" y="231"/>
                      <a:pt x="299" y="231"/>
                      <a:pt x="313" y="218"/>
                    </a:cubicBezTo>
                    <a:lnTo>
                      <a:pt x="327" y="218"/>
                    </a:lnTo>
                    <a:cubicBezTo>
                      <a:pt x="422" y="299"/>
                      <a:pt x="422" y="299"/>
                      <a:pt x="422" y="299"/>
                    </a:cubicBezTo>
                    <a:lnTo>
                      <a:pt x="422" y="299"/>
                    </a:lnTo>
                    <a:lnTo>
                      <a:pt x="436" y="299"/>
                    </a:lnTo>
                    <a:lnTo>
                      <a:pt x="436" y="299"/>
                    </a:lnTo>
                    <a:lnTo>
                      <a:pt x="450" y="299"/>
                    </a:lnTo>
                    <a:cubicBezTo>
                      <a:pt x="462" y="285"/>
                      <a:pt x="450" y="272"/>
                      <a:pt x="450" y="272"/>
                    </a:cubicBezTo>
                    <a:lnTo>
                      <a:pt x="259" y="108"/>
                    </a:ln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7" name="Freeform 227"/>
              <p:cNvSpPr>
                <a:spLocks noChangeArrowheads="1"/>
              </p:cNvSpPr>
              <p:nvPr/>
            </p:nvSpPr>
            <p:spPr bwMode="auto">
              <a:xfrm>
                <a:off x="6759368" y="11390700"/>
                <a:ext cx="54349" cy="50180"/>
              </a:xfrm>
              <a:custGeom>
                <a:avLst/>
                <a:gdLst>
                  <a:gd name="T0" fmla="*/ 27 w 56"/>
                  <a:gd name="T1" fmla="*/ 0 h 55"/>
                  <a:gd name="T2" fmla="*/ 27 w 56"/>
                  <a:gd name="T3" fmla="*/ 0 h 55"/>
                  <a:gd name="T4" fmla="*/ 14 w 56"/>
                  <a:gd name="T5" fmla="*/ 14 h 55"/>
                  <a:gd name="T6" fmla="*/ 14 w 56"/>
                  <a:gd name="T7" fmla="*/ 41 h 55"/>
                  <a:gd name="T8" fmla="*/ 41 w 56"/>
                  <a:gd name="T9" fmla="*/ 41 h 55"/>
                  <a:gd name="T10" fmla="*/ 41 w 56"/>
                  <a:gd name="T11" fmla="*/ 0 h 55"/>
                  <a:gd name="T12" fmla="*/ 27 w 56"/>
                  <a:gd name="T1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55">
                    <a:moveTo>
                      <a:pt x="27" y="0"/>
                    </a:moveTo>
                    <a:lnTo>
                      <a:pt x="27" y="0"/>
                    </a:lnTo>
                    <a:cubicBezTo>
                      <a:pt x="27" y="0"/>
                      <a:pt x="14" y="0"/>
                      <a:pt x="14" y="14"/>
                    </a:cubicBezTo>
                    <a:cubicBezTo>
                      <a:pt x="0" y="14"/>
                      <a:pt x="14" y="27"/>
                      <a:pt x="14" y="41"/>
                    </a:cubicBezTo>
                    <a:cubicBezTo>
                      <a:pt x="27" y="54"/>
                      <a:pt x="41" y="41"/>
                      <a:pt x="41" y="41"/>
                    </a:cubicBezTo>
                    <a:cubicBezTo>
                      <a:pt x="55" y="27"/>
                      <a:pt x="55" y="14"/>
                      <a:pt x="41" y="0"/>
                    </a:cubicBezTo>
                    <a:cubicBezTo>
                      <a:pt x="41" y="0"/>
                      <a:pt x="41" y="0"/>
                      <a:pt x="27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38" name="Freeform 228"/>
              <p:cNvSpPr>
                <a:spLocks noChangeArrowheads="1"/>
              </p:cNvSpPr>
              <p:nvPr/>
            </p:nvSpPr>
            <p:spPr bwMode="auto">
              <a:xfrm>
                <a:off x="6901508" y="11453424"/>
                <a:ext cx="4181" cy="4184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808080"/>
                    </a:solidFill>
                    <a:bevel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3" name="Group 77"/>
            <p:cNvGrpSpPr/>
            <p:nvPr/>
          </p:nvGrpSpPr>
          <p:grpSpPr>
            <a:xfrm>
              <a:off x="17960356" y="9740260"/>
              <a:ext cx="845450" cy="756950"/>
              <a:chOff x="13222514" y="10847085"/>
              <a:chExt cx="635447" cy="568706"/>
            </a:xfrm>
            <a:solidFill>
              <a:srgbClr val="FFFFFF"/>
            </a:solidFill>
          </p:grpSpPr>
          <p:sp>
            <p:nvSpPr>
              <p:cNvPr id="27" name="Freeform 245"/>
              <p:cNvSpPr>
                <a:spLocks noChangeArrowheads="1"/>
              </p:cNvSpPr>
              <p:nvPr/>
            </p:nvSpPr>
            <p:spPr bwMode="auto">
              <a:xfrm>
                <a:off x="13276865" y="11323795"/>
                <a:ext cx="41805" cy="41816"/>
              </a:xfrm>
              <a:custGeom>
                <a:avLst/>
                <a:gdLst>
                  <a:gd name="T0" fmla="*/ 14 w 42"/>
                  <a:gd name="T1" fmla="*/ 42 h 43"/>
                  <a:gd name="T2" fmla="*/ 14 w 42"/>
                  <a:gd name="T3" fmla="*/ 42 h 43"/>
                  <a:gd name="T4" fmla="*/ 41 w 42"/>
                  <a:gd name="T5" fmla="*/ 28 h 43"/>
                  <a:gd name="T6" fmla="*/ 14 w 42"/>
                  <a:gd name="T7" fmla="*/ 0 h 43"/>
                  <a:gd name="T8" fmla="*/ 0 w 42"/>
                  <a:gd name="T9" fmla="*/ 28 h 43"/>
                  <a:gd name="T10" fmla="*/ 14 w 42"/>
                  <a:gd name="T11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43">
                    <a:moveTo>
                      <a:pt x="14" y="42"/>
                    </a:moveTo>
                    <a:lnTo>
                      <a:pt x="14" y="42"/>
                    </a:lnTo>
                    <a:cubicBezTo>
                      <a:pt x="28" y="42"/>
                      <a:pt x="41" y="42"/>
                      <a:pt x="41" y="28"/>
                    </a:cubicBezTo>
                    <a:cubicBezTo>
                      <a:pt x="41" y="15"/>
                      <a:pt x="28" y="0"/>
                      <a:pt x="14" y="0"/>
                    </a:cubicBezTo>
                    <a:cubicBezTo>
                      <a:pt x="14" y="0"/>
                      <a:pt x="0" y="15"/>
                      <a:pt x="0" y="28"/>
                    </a:cubicBezTo>
                    <a:cubicBezTo>
                      <a:pt x="0" y="42"/>
                      <a:pt x="14" y="42"/>
                      <a:pt x="14" y="4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8" name="Freeform 246"/>
              <p:cNvSpPr>
                <a:spLocks noChangeArrowheads="1"/>
              </p:cNvSpPr>
              <p:nvPr/>
            </p:nvSpPr>
            <p:spPr bwMode="auto">
              <a:xfrm>
                <a:off x="13222514" y="11068713"/>
                <a:ext cx="167223" cy="347078"/>
              </a:xfrm>
              <a:custGeom>
                <a:avLst/>
                <a:gdLst>
                  <a:gd name="T0" fmla="*/ 0 w 177"/>
                  <a:gd name="T1" fmla="*/ 367 h 368"/>
                  <a:gd name="T2" fmla="*/ 0 w 177"/>
                  <a:gd name="T3" fmla="*/ 367 h 368"/>
                  <a:gd name="T4" fmla="*/ 176 w 177"/>
                  <a:gd name="T5" fmla="*/ 367 h 368"/>
                  <a:gd name="T6" fmla="*/ 176 w 177"/>
                  <a:gd name="T7" fmla="*/ 0 h 368"/>
                  <a:gd name="T8" fmla="*/ 0 w 177"/>
                  <a:gd name="T9" fmla="*/ 0 h 368"/>
                  <a:gd name="T10" fmla="*/ 0 w 177"/>
                  <a:gd name="T11" fmla="*/ 367 h 368"/>
                  <a:gd name="T12" fmla="*/ 95 w 177"/>
                  <a:gd name="T13" fmla="*/ 26 h 368"/>
                  <a:gd name="T14" fmla="*/ 95 w 177"/>
                  <a:gd name="T15" fmla="*/ 26 h 368"/>
                  <a:gd name="T16" fmla="*/ 122 w 177"/>
                  <a:gd name="T17" fmla="*/ 26 h 368"/>
                  <a:gd name="T18" fmla="*/ 122 w 177"/>
                  <a:gd name="T19" fmla="*/ 231 h 368"/>
                  <a:gd name="T20" fmla="*/ 95 w 177"/>
                  <a:gd name="T21" fmla="*/ 231 h 368"/>
                  <a:gd name="T22" fmla="*/ 95 w 177"/>
                  <a:gd name="T23" fmla="*/ 26 h 368"/>
                  <a:gd name="T24" fmla="*/ 68 w 177"/>
                  <a:gd name="T25" fmla="*/ 245 h 368"/>
                  <a:gd name="T26" fmla="*/ 68 w 177"/>
                  <a:gd name="T27" fmla="*/ 245 h 368"/>
                  <a:gd name="T28" fmla="*/ 122 w 177"/>
                  <a:gd name="T29" fmla="*/ 299 h 368"/>
                  <a:gd name="T30" fmla="*/ 68 w 177"/>
                  <a:gd name="T31" fmla="*/ 340 h 368"/>
                  <a:gd name="T32" fmla="*/ 27 w 177"/>
                  <a:gd name="T33" fmla="*/ 299 h 368"/>
                  <a:gd name="T34" fmla="*/ 68 w 177"/>
                  <a:gd name="T35" fmla="*/ 245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7" h="368">
                    <a:moveTo>
                      <a:pt x="0" y="367"/>
                    </a:moveTo>
                    <a:lnTo>
                      <a:pt x="0" y="367"/>
                    </a:lnTo>
                    <a:cubicBezTo>
                      <a:pt x="176" y="367"/>
                      <a:pt x="176" y="367"/>
                      <a:pt x="176" y="367"/>
                    </a:cubicBezTo>
                    <a:cubicBezTo>
                      <a:pt x="176" y="0"/>
                      <a:pt x="176" y="0"/>
                      <a:pt x="176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67"/>
                    </a:lnTo>
                    <a:close/>
                    <a:moveTo>
                      <a:pt x="95" y="26"/>
                    </a:moveTo>
                    <a:lnTo>
                      <a:pt x="95" y="26"/>
                    </a:lnTo>
                    <a:cubicBezTo>
                      <a:pt x="122" y="26"/>
                      <a:pt x="122" y="26"/>
                      <a:pt x="122" y="26"/>
                    </a:cubicBezTo>
                    <a:cubicBezTo>
                      <a:pt x="122" y="231"/>
                      <a:pt x="122" y="231"/>
                      <a:pt x="122" y="231"/>
                    </a:cubicBezTo>
                    <a:cubicBezTo>
                      <a:pt x="95" y="231"/>
                      <a:pt x="95" y="231"/>
                      <a:pt x="95" y="231"/>
                    </a:cubicBezTo>
                    <a:lnTo>
                      <a:pt x="95" y="26"/>
                    </a:lnTo>
                    <a:close/>
                    <a:moveTo>
                      <a:pt x="68" y="245"/>
                    </a:moveTo>
                    <a:lnTo>
                      <a:pt x="68" y="245"/>
                    </a:lnTo>
                    <a:cubicBezTo>
                      <a:pt x="95" y="245"/>
                      <a:pt x="122" y="271"/>
                      <a:pt x="122" y="299"/>
                    </a:cubicBezTo>
                    <a:cubicBezTo>
                      <a:pt x="122" y="327"/>
                      <a:pt x="95" y="340"/>
                      <a:pt x="68" y="340"/>
                    </a:cubicBezTo>
                    <a:cubicBezTo>
                      <a:pt x="41" y="340"/>
                      <a:pt x="27" y="327"/>
                      <a:pt x="27" y="299"/>
                    </a:cubicBezTo>
                    <a:cubicBezTo>
                      <a:pt x="27" y="271"/>
                      <a:pt x="41" y="245"/>
                      <a:pt x="68" y="24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9" name="Freeform 247"/>
              <p:cNvSpPr>
                <a:spLocks noChangeArrowheads="1"/>
              </p:cNvSpPr>
              <p:nvPr/>
            </p:nvSpPr>
            <p:spPr bwMode="auto">
              <a:xfrm>
                <a:off x="13419004" y="10847085"/>
                <a:ext cx="438957" cy="518524"/>
              </a:xfrm>
              <a:custGeom>
                <a:avLst/>
                <a:gdLst>
                  <a:gd name="T0" fmla="*/ 436 w 464"/>
                  <a:gd name="T1" fmla="*/ 300 h 546"/>
                  <a:gd name="T2" fmla="*/ 436 w 464"/>
                  <a:gd name="T3" fmla="*/ 300 h 546"/>
                  <a:gd name="T4" fmla="*/ 463 w 464"/>
                  <a:gd name="T5" fmla="*/ 258 h 546"/>
                  <a:gd name="T6" fmla="*/ 408 w 464"/>
                  <a:gd name="T7" fmla="*/ 218 h 546"/>
                  <a:gd name="T8" fmla="*/ 314 w 464"/>
                  <a:gd name="T9" fmla="*/ 218 h 546"/>
                  <a:gd name="T10" fmla="*/ 394 w 464"/>
                  <a:gd name="T11" fmla="*/ 95 h 546"/>
                  <a:gd name="T12" fmla="*/ 382 w 464"/>
                  <a:gd name="T13" fmla="*/ 27 h 546"/>
                  <a:gd name="T14" fmla="*/ 326 w 464"/>
                  <a:gd name="T15" fmla="*/ 0 h 546"/>
                  <a:gd name="T16" fmla="*/ 326 w 464"/>
                  <a:gd name="T17" fmla="*/ 0 h 546"/>
                  <a:gd name="T18" fmla="*/ 326 w 464"/>
                  <a:gd name="T19" fmla="*/ 0 h 546"/>
                  <a:gd name="T20" fmla="*/ 218 w 464"/>
                  <a:gd name="T21" fmla="*/ 123 h 546"/>
                  <a:gd name="T22" fmla="*/ 41 w 464"/>
                  <a:gd name="T23" fmla="*/ 272 h 546"/>
                  <a:gd name="T24" fmla="*/ 0 w 464"/>
                  <a:gd name="T25" fmla="*/ 272 h 546"/>
                  <a:gd name="T26" fmla="*/ 0 w 464"/>
                  <a:gd name="T27" fmla="*/ 518 h 546"/>
                  <a:gd name="T28" fmla="*/ 0 w 464"/>
                  <a:gd name="T29" fmla="*/ 518 h 546"/>
                  <a:gd name="T30" fmla="*/ 14 w 464"/>
                  <a:gd name="T31" fmla="*/ 518 h 546"/>
                  <a:gd name="T32" fmla="*/ 81 w 464"/>
                  <a:gd name="T33" fmla="*/ 531 h 546"/>
                  <a:gd name="T34" fmla="*/ 135 w 464"/>
                  <a:gd name="T35" fmla="*/ 545 h 546"/>
                  <a:gd name="T36" fmla="*/ 231 w 464"/>
                  <a:gd name="T37" fmla="*/ 531 h 546"/>
                  <a:gd name="T38" fmla="*/ 368 w 464"/>
                  <a:gd name="T39" fmla="*/ 531 h 546"/>
                  <a:gd name="T40" fmla="*/ 408 w 464"/>
                  <a:gd name="T41" fmla="*/ 491 h 546"/>
                  <a:gd name="T42" fmla="*/ 394 w 464"/>
                  <a:gd name="T43" fmla="*/ 449 h 546"/>
                  <a:gd name="T44" fmla="*/ 394 w 464"/>
                  <a:gd name="T45" fmla="*/ 449 h 546"/>
                  <a:gd name="T46" fmla="*/ 449 w 464"/>
                  <a:gd name="T47" fmla="*/ 409 h 546"/>
                  <a:gd name="T48" fmla="*/ 422 w 464"/>
                  <a:gd name="T49" fmla="*/ 382 h 546"/>
                  <a:gd name="T50" fmla="*/ 463 w 464"/>
                  <a:gd name="T51" fmla="*/ 328 h 546"/>
                  <a:gd name="T52" fmla="*/ 436 w 464"/>
                  <a:gd name="T53" fmla="*/ 300 h 546"/>
                  <a:gd name="T54" fmla="*/ 204 w 464"/>
                  <a:gd name="T55" fmla="*/ 204 h 546"/>
                  <a:gd name="T56" fmla="*/ 204 w 464"/>
                  <a:gd name="T57" fmla="*/ 204 h 546"/>
                  <a:gd name="T58" fmla="*/ 123 w 464"/>
                  <a:gd name="T59" fmla="*/ 300 h 546"/>
                  <a:gd name="T60" fmla="*/ 109 w 464"/>
                  <a:gd name="T61" fmla="*/ 314 h 546"/>
                  <a:gd name="T62" fmla="*/ 109 w 464"/>
                  <a:gd name="T63" fmla="*/ 314 h 546"/>
                  <a:gd name="T64" fmla="*/ 95 w 464"/>
                  <a:gd name="T65" fmla="*/ 286 h 546"/>
                  <a:gd name="T66" fmla="*/ 191 w 464"/>
                  <a:gd name="T67" fmla="*/ 191 h 546"/>
                  <a:gd name="T68" fmla="*/ 218 w 464"/>
                  <a:gd name="T69" fmla="*/ 191 h 546"/>
                  <a:gd name="T70" fmla="*/ 204 w 464"/>
                  <a:gd name="T71" fmla="*/ 204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64" h="546">
                    <a:moveTo>
                      <a:pt x="436" y="300"/>
                    </a:moveTo>
                    <a:lnTo>
                      <a:pt x="436" y="300"/>
                    </a:lnTo>
                    <a:cubicBezTo>
                      <a:pt x="449" y="286"/>
                      <a:pt x="463" y="272"/>
                      <a:pt x="463" y="258"/>
                    </a:cubicBezTo>
                    <a:cubicBezTo>
                      <a:pt x="463" y="232"/>
                      <a:pt x="436" y="218"/>
                      <a:pt x="408" y="218"/>
                    </a:cubicBezTo>
                    <a:cubicBezTo>
                      <a:pt x="314" y="218"/>
                      <a:pt x="314" y="218"/>
                      <a:pt x="314" y="218"/>
                    </a:cubicBezTo>
                    <a:cubicBezTo>
                      <a:pt x="340" y="191"/>
                      <a:pt x="382" y="150"/>
                      <a:pt x="394" y="95"/>
                    </a:cubicBezTo>
                    <a:cubicBezTo>
                      <a:pt x="394" y="69"/>
                      <a:pt x="394" y="41"/>
                      <a:pt x="382" y="27"/>
                    </a:cubicBezTo>
                    <a:cubicBezTo>
                      <a:pt x="368" y="0"/>
                      <a:pt x="326" y="0"/>
                      <a:pt x="326" y="0"/>
                    </a:cubicBezTo>
                    <a:lnTo>
                      <a:pt x="326" y="0"/>
                    </a:lnTo>
                    <a:lnTo>
                      <a:pt x="326" y="0"/>
                    </a:lnTo>
                    <a:cubicBezTo>
                      <a:pt x="326" y="27"/>
                      <a:pt x="314" y="69"/>
                      <a:pt x="218" y="123"/>
                    </a:cubicBezTo>
                    <a:cubicBezTo>
                      <a:pt x="123" y="191"/>
                      <a:pt x="55" y="258"/>
                      <a:pt x="41" y="272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0" y="518"/>
                      <a:pt x="0" y="518"/>
                      <a:pt x="0" y="518"/>
                    </a:cubicBezTo>
                    <a:lnTo>
                      <a:pt x="0" y="518"/>
                    </a:lnTo>
                    <a:cubicBezTo>
                      <a:pt x="0" y="518"/>
                      <a:pt x="0" y="518"/>
                      <a:pt x="14" y="518"/>
                    </a:cubicBezTo>
                    <a:cubicBezTo>
                      <a:pt x="27" y="518"/>
                      <a:pt x="55" y="518"/>
                      <a:pt x="81" y="531"/>
                    </a:cubicBezTo>
                    <a:cubicBezTo>
                      <a:pt x="95" y="531"/>
                      <a:pt x="109" y="545"/>
                      <a:pt x="135" y="545"/>
                    </a:cubicBezTo>
                    <a:cubicBezTo>
                      <a:pt x="177" y="545"/>
                      <a:pt x="231" y="531"/>
                      <a:pt x="231" y="531"/>
                    </a:cubicBezTo>
                    <a:cubicBezTo>
                      <a:pt x="368" y="531"/>
                      <a:pt x="368" y="531"/>
                      <a:pt x="368" y="531"/>
                    </a:cubicBezTo>
                    <a:cubicBezTo>
                      <a:pt x="394" y="531"/>
                      <a:pt x="408" y="518"/>
                      <a:pt x="408" y="491"/>
                    </a:cubicBezTo>
                    <a:cubicBezTo>
                      <a:pt x="408" y="477"/>
                      <a:pt x="408" y="463"/>
                      <a:pt x="394" y="449"/>
                    </a:cubicBezTo>
                    <a:lnTo>
                      <a:pt x="394" y="449"/>
                    </a:lnTo>
                    <a:cubicBezTo>
                      <a:pt x="422" y="449"/>
                      <a:pt x="449" y="436"/>
                      <a:pt x="449" y="409"/>
                    </a:cubicBezTo>
                    <a:cubicBezTo>
                      <a:pt x="449" y="395"/>
                      <a:pt x="436" y="382"/>
                      <a:pt x="422" y="382"/>
                    </a:cubicBezTo>
                    <a:cubicBezTo>
                      <a:pt x="449" y="368"/>
                      <a:pt x="463" y="354"/>
                      <a:pt x="463" y="328"/>
                    </a:cubicBezTo>
                    <a:cubicBezTo>
                      <a:pt x="463" y="314"/>
                      <a:pt x="449" y="300"/>
                      <a:pt x="436" y="300"/>
                    </a:cubicBezTo>
                    <a:close/>
                    <a:moveTo>
                      <a:pt x="204" y="204"/>
                    </a:moveTo>
                    <a:lnTo>
                      <a:pt x="204" y="204"/>
                    </a:lnTo>
                    <a:cubicBezTo>
                      <a:pt x="163" y="246"/>
                      <a:pt x="123" y="300"/>
                      <a:pt x="123" y="300"/>
                    </a:cubicBezTo>
                    <a:cubicBezTo>
                      <a:pt x="123" y="314"/>
                      <a:pt x="123" y="314"/>
                      <a:pt x="109" y="314"/>
                    </a:cubicBezTo>
                    <a:lnTo>
                      <a:pt x="109" y="314"/>
                    </a:lnTo>
                    <a:cubicBezTo>
                      <a:pt x="95" y="300"/>
                      <a:pt x="95" y="300"/>
                      <a:pt x="95" y="286"/>
                    </a:cubicBezTo>
                    <a:cubicBezTo>
                      <a:pt x="95" y="286"/>
                      <a:pt x="135" y="218"/>
                      <a:pt x="191" y="191"/>
                    </a:cubicBezTo>
                    <a:cubicBezTo>
                      <a:pt x="204" y="177"/>
                      <a:pt x="218" y="191"/>
                      <a:pt x="218" y="191"/>
                    </a:cubicBezTo>
                    <a:cubicBezTo>
                      <a:pt x="218" y="204"/>
                      <a:pt x="218" y="204"/>
                      <a:pt x="204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  <p:grpSp>
          <p:nvGrpSpPr>
            <p:cNvPr id="24" name="Group 81"/>
            <p:cNvGrpSpPr/>
            <p:nvPr/>
          </p:nvGrpSpPr>
          <p:grpSpPr>
            <a:xfrm>
              <a:off x="22833930" y="9704084"/>
              <a:ext cx="823198" cy="829298"/>
              <a:chOff x="15935700" y="10788544"/>
              <a:chExt cx="618722" cy="623064"/>
            </a:xfrm>
            <a:solidFill>
              <a:srgbClr val="FFFFFF"/>
            </a:solidFill>
          </p:grpSpPr>
          <p:sp>
            <p:nvSpPr>
              <p:cNvPr id="25" name="Freeform 584"/>
              <p:cNvSpPr>
                <a:spLocks noChangeArrowheads="1"/>
              </p:cNvSpPr>
              <p:nvPr/>
            </p:nvSpPr>
            <p:spPr bwMode="auto">
              <a:xfrm>
                <a:off x="15935700" y="10788544"/>
                <a:ext cx="618722" cy="623064"/>
              </a:xfrm>
              <a:custGeom>
                <a:avLst/>
                <a:gdLst>
                  <a:gd name="T0" fmla="*/ 641 w 654"/>
                  <a:gd name="T1" fmla="*/ 258 h 655"/>
                  <a:gd name="T2" fmla="*/ 341 w 654"/>
                  <a:gd name="T3" fmla="*/ 13 h 655"/>
                  <a:gd name="T4" fmla="*/ 68 w 654"/>
                  <a:gd name="T5" fmla="*/ 258 h 655"/>
                  <a:gd name="T6" fmla="*/ 0 w 654"/>
                  <a:gd name="T7" fmla="*/ 258 h 655"/>
                  <a:gd name="T8" fmla="*/ 0 w 654"/>
                  <a:gd name="T9" fmla="*/ 654 h 655"/>
                  <a:gd name="T10" fmla="*/ 653 w 654"/>
                  <a:gd name="T11" fmla="*/ 654 h 655"/>
                  <a:gd name="T12" fmla="*/ 641 w 654"/>
                  <a:gd name="T13" fmla="*/ 258 h 655"/>
                  <a:gd name="T14" fmla="*/ 327 w 654"/>
                  <a:gd name="T15" fmla="*/ 55 h 655"/>
                  <a:gd name="T16" fmla="*/ 122 w 654"/>
                  <a:gd name="T17" fmla="*/ 258 h 655"/>
                  <a:gd name="T18" fmla="*/ 96 w 654"/>
                  <a:gd name="T19" fmla="*/ 558 h 655"/>
                  <a:gd name="T20" fmla="*/ 54 w 654"/>
                  <a:gd name="T21" fmla="*/ 545 h 655"/>
                  <a:gd name="T22" fmla="*/ 110 w 654"/>
                  <a:gd name="T23" fmla="*/ 545 h 655"/>
                  <a:gd name="T24" fmla="*/ 110 w 654"/>
                  <a:gd name="T25" fmla="*/ 477 h 655"/>
                  <a:gd name="T26" fmla="*/ 122 w 654"/>
                  <a:gd name="T27" fmla="*/ 381 h 655"/>
                  <a:gd name="T28" fmla="*/ 150 w 654"/>
                  <a:gd name="T29" fmla="*/ 409 h 655"/>
                  <a:gd name="T30" fmla="*/ 82 w 654"/>
                  <a:gd name="T31" fmla="*/ 422 h 655"/>
                  <a:gd name="T32" fmla="*/ 164 w 654"/>
                  <a:gd name="T33" fmla="*/ 504 h 655"/>
                  <a:gd name="T34" fmla="*/ 313 w 654"/>
                  <a:gd name="T35" fmla="*/ 558 h 655"/>
                  <a:gd name="T36" fmla="*/ 287 w 654"/>
                  <a:gd name="T37" fmla="*/ 504 h 655"/>
                  <a:gd name="T38" fmla="*/ 205 w 654"/>
                  <a:gd name="T39" fmla="*/ 558 h 655"/>
                  <a:gd name="T40" fmla="*/ 245 w 654"/>
                  <a:gd name="T41" fmla="*/ 381 h 655"/>
                  <a:gd name="T42" fmla="*/ 341 w 654"/>
                  <a:gd name="T43" fmla="*/ 558 h 655"/>
                  <a:gd name="T44" fmla="*/ 462 w 654"/>
                  <a:gd name="T45" fmla="*/ 558 h 655"/>
                  <a:gd name="T46" fmla="*/ 368 w 654"/>
                  <a:gd name="T47" fmla="*/ 558 h 655"/>
                  <a:gd name="T48" fmla="*/ 382 w 654"/>
                  <a:gd name="T49" fmla="*/ 381 h 655"/>
                  <a:gd name="T50" fmla="*/ 462 w 654"/>
                  <a:gd name="T51" fmla="*/ 545 h 655"/>
                  <a:gd name="T52" fmla="*/ 585 w 654"/>
                  <a:gd name="T53" fmla="*/ 558 h 655"/>
                  <a:gd name="T54" fmla="*/ 490 w 654"/>
                  <a:gd name="T55" fmla="*/ 558 h 655"/>
                  <a:gd name="T56" fmla="*/ 585 w 654"/>
                  <a:gd name="T57" fmla="*/ 381 h 655"/>
                  <a:gd name="T58" fmla="*/ 518 w 654"/>
                  <a:gd name="T59" fmla="*/ 395 h 655"/>
                  <a:gd name="T60" fmla="*/ 585 w 654"/>
                  <a:gd name="T61" fmla="*/ 449 h 655"/>
                  <a:gd name="T62" fmla="*/ 518 w 654"/>
                  <a:gd name="T63" fmla="*/ 477 h 655"/>
                  <a:gd name="T64" fmla="*/ 585 w 654"/>
                  <a:gd name="T65" fmla="*/ 545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54" h="655">
                    <a:moveTo>
                      <a:pt x="641" y="258"/>
                    </a:moveTo>
                    <a:lnTo>
                      <a:pt x="641" y="258"/>
                    </a:lnTo>
                    <a:cubicBezTo>
                      <a:pt x="585" y="258"/>
                      <a:pt x="585" y="258"/>
                      <a:pt x="585" y="258"/>
                    </a:cubicBezTo>
                    <a:cubicBezTo>
                      <a:pt x="341" y="13"/>
                      <a:pt x="341" y="13"/>
                      <a:pt x="341" y="13"/>
                    </a:cubicBezTo>
                    <a:cubicBezTo>
                      <a:pt x="327" y="0"/>
                      <a:pt x="313" y="0"/>
                      <a:pt x="313" y="13"/>
                    </a:cubicBezTo>
                    <a:cubicBezTo>
                      <a:pt x="68" y="258"/>
                      <a:pt x="68" y="258"/>
                      <a:pt x="68" y="258"/>
                    </a:cubicBezTo>
                    <a:cubicBezTo>
                      <a:pt x="0" y="258"/>
                      <a:pt x="0" y="258"/>
                      <a:pt x="0" y="258"/>
                    </a:cubicBezTo>
                    <a:lnTo>
                      <a:pt x="0" y="258"/>
                    </a:lnTo>
                    <a:cubicBezTo>
                      <a:pt x="0" y="654"/>
                      <a:pt x="0" y="654"/>
                      <a:pt x="0" y="654"/>
                    </a:cubicBezTo>
                    <a:lnTo>
                      <a:pt x="0" y="654"/>
                    </a:lnTo>
                    <a:cubicBezTo>
                      <a:pt x="641" y="654"/>
                      <a:pt x="641" y="654"/>
                      <a:pt x="641" y="654"/>
                    </a:cubicBezTo>
                    <a:cubicBezTo>
                      <a:pt x="653" y="654"/>
                      <a:pt x="653" y="654"/>
                      <a:pt x="653" y="654"/>
                    </a:cubicBezTo>
                    <a:cubicBezTo>
                      <a:pt x="653" y="258"/>
                      <a:pt x="653" y="258"/>
                      <a:pt x="653" y="258"/>
                    </a:cubicBezTo>
                    <a:cubicBezTo>
                      <a:pt x="653" y="258"/>
                      <a:pt x="653" y="258"/>
                      <a:pt x="641" y="258"/>
                    </a:cubicBezTo>
                    <a:close/>
                    <a:moveTo>
                      <a:pt x="327" y="55"/>
                    </a:moveTo>
                    <a:lnTo>
                      <a:pt x="327" y="55"/>
                    </a:lnTo>
                    <a:cubicBezTo>
                      <a:pt x="518" y="258"/>
                      <a:pt x="518" y="258"/>
                      <a:pt x="518" y="258"/>
                    </a:cubicBezTo>
                    <a:cubicBezTo>
                      <a:pt x="122" y="258"/>
                      <a:pt x="122" y="258"/>
                      <a:pt x="122" y="258"/>
                    </a:cubicBezTo>
                    <a:lnTo>
                      <a:pt x="327" y="55"/>
                    </a:lnTo>
                    <a:close/>
                    <a:moveTo>
                      <a:pt x="96" y="558"/>
                    </a:moveTo>
                    <a:lnTo>
                      <a:pt x="96" y="558"/>
                    </a:lnTo>
                    <a:cubicBezTo>
                      <a:pt x="82" y="558"/>
                      <a:pt x="68" y="558"/>
                      <a:pt x="54" y="545"/>
                    </a:cubicBezTo>
                    <a:cubicBezTo>
                      <a:pt x="68" y="531"/>
                      <a:pt x="68" y="531"/>
                      <a:pt x="68" y="531"/>
                    </a:cubicBezTo>
                    <a:cubicBezTo>
                      <a:pt x="68" y="531"/>
                      <a:pt x="82" y="545"/>
                      <a:pt x="110" y="545"/>
                    </a:cubicBezTo>
                    <a:cubicBezTo>
                      <a:pt x="122" y="545"/>
                      <a:pt x="136" y="531"/>
                      <a:pt x="136" y="517"/>
                    </a:cubicBezTo>
                    <a:cubicBezTo>
                      <a:pt x="136" y="489"/>
                      <a:pt x="136" y="489"/>
                      <a:pt x="110" y="477"/>
                    </a:cubicBezTo>
                    <a:cubicBezTo>
                      <a:pt x="82" y="463"/>
                      <a:pt x="54" y="449"/>
                      <a:pt x="54" y="422"/>
                    </a:cubicBezTo>
                    <a:cubicBezTo>
                      <a:pt x="54" y="395"/>
                      <a:pt x="82" y="381"/>
                      <a:pt x="122" y="381"/>
                    </a:cubicBezTo>
                    <a:cubicBezTo>
                      <a:pt x="136" y="381"/>
                      <a:pt x="150" y="381"/>
                      <a:pt x="164" y="381"/>
                    </a:cubicBezTo>
                    <a:cubicBezTo>
                      <a:pt x="150" y="409"/>
                      <a:pt x="150" y="409"/>
                      <a:pt x="150" y="409"/>
                    </a:cubicBezTo>
                    <a:cubicBezTo>
                      <a:pt x="150" y="395"/>
                      <a:pt x="136" y="395"/>
                      <a:pt x="122" y="395"/>
                    </a:cubicBezTo>
                    <a:cubicBezTo>
                      <a:pt x="96" y="395"/>
                      <a:pt x="82" y="409"/>
                      <a:pt x="82" y="422"/>
                    </a:cubicBezTo>
                    <a:cubicBezTo>
                      <a:pt x="82" y="435"/>
                      <a:pt x="96" y="449"/>
                      <a:pt x="122" y="449"/>
                    </a:cubicBezTo>
                    <a:cubicBezTo>
                      <a:pt x="150" y="463"/>
                      <a:pt x="164" y="477"/>
                      <a:pt x="164" y="504"/>
                    </a:cubicBezTo>
                    <a:cubicBezTo>
                      <a:pt x="164" y="531"/>
                      <a:pt x="150" y="558"/>
                      <a:pt x="96" y="558"/>
                    </a:cubicBezTo>
                    <a:close/>
                    <a:moveTo>
                      <a:pt x="313" y="558"/>
                    </a:moveTo>
                    <a:lnTo>
                      <a:pt x="313" y="558"/>
                    </a:lnTo>
                    <a:cubicBezTo>
                      <a:pt x="287" y="504"/>
                      <a:pt x="287" y="504"/>
                      <a:pt x="287" y="504"/>
                    </a:cubicBezTo>
                    <a:cubicBezTo>
                      <a:pt x="231" y="504"/>
                      <a:pt x="231" y="504"/>
                      <a:pt x="231" y="504"/>
                    </a:cubicBezTo>
                    <a:cubicBezTo>
                      <a:pt x="205" y="558"/>
                      <a:pt x="205" y="558"/>
                      <a:pt x="205" y="558"/>
                    </a:cubicBezTo>
                    <a:cubicBezTo>
                      <a:pt x="177" y="558"/>
                      <a:pt x="177" y="558"/>
                      <a:pt x="177" y="558"/>
                    </a:cubicBezTo>
                    <a:cubicBezTo>
                      <a:pt x="245" y="381"/>
                      <a:pt x="245" y="381"/>
                      <a:pt x="245" y="381"/>
                    </a:cubicBezTo>
                    <a:cubicBezTo>
                      <a:pt x="273" y="381"/>
                      <a:pt x="273" y="381"/>
                      <a:pt x="273" y="381"/>
                    </a:cubicBezTo>
                    <a:cubicBezTo>
                      <a:pt x="341" y="558"/>
                      <a:pt x="341" y="558"/>
                      <a:pt x="341" y="558"/>
                    </a:cubicBezTo>
                    <a:lnTo>
                      <a:pt x="313" y="558"/>
                    </a:lnTo>
                    <a:close/>
                    <a:moveTo>
                      <a:pt x="462" y="558"/>
                    </a:moveTo>
                    <a:lnTo>
                      <a:pt x="462" y="558"/>
                    </a:lnTo>
                    <a:cubicBezTo>
                      <a:pt x="368" y="558"/>
                      <a:pt x="368" y="558"/>
                      <a:pt x="368" y="558"/>
                    </a:cubicBezTo>
                    <a:cubicBezTo>
                      <a:pt x="368" y="381"/>
                      <a:pt x="368" y="381"/>
                      <a:pt x="368" y="381"/>
                    </a:cubicBezTo>
                    <a:cubicBezTo>
                      <a:pt x="382" y="381"/>
                      <a:pt x="382" y="381"/>
                      <a:pt x="382" y="381"/>
                    </a:cubicBezTo>
                    <a:cubicBezTo>
                      <a:pt x="382" y="545"/>
                      <a:pt x="382" y="545"/>
                      <a:pt x="382" y="545"/>
                    </a:cubicBezTo>
                    <a:cubicBezTo>
                      <a:pt x="462" y="545"/>
                      <a:pt x="462" y="545"/>
                      <a:pt x="462" y="545"/>
                    </a:cubicBezTo>
                    <a:lnTo>
                      <a:pt x="462" y="558"/>
                    </a:lnTo>
                    <a:close/>
                    <a:moveTo>
                      <a:pt x="585" y="558"/>
                    </a:moveTo>
                    <a:lnTo>
                      <a:pt x="585" y="558"/>
                    </a:lnTo>
                    <a:cubicBezTo>
                      <a:pt x="490" y="558"/>
                      <a:pt x="490" y="558"/>
                      <a:pt x="490" y="558"/>
                    </a:cubicBezTo>
                    <a:cubicBezTo>
                      <a:pt x="490" y="381"/>
                      <a:pt x="490" y="381"/>
                      <a:pt x="490" y="381"/>
                    </a:cubicBezTo>
                    <a:cubicBezTo>
                      <a:pt x="585" y="381"/>
                      <a:pt x="585" y="381"/>
                      <a:pt x="585" y="381"/>
                    </a:cubicBezTo>
                    <a:cubicBezTo>
                      <a:pt x="585" y="395"/>
                      <a:pt x="585" y="395"/>
                      <a:pt x="585" y="395"/>
                    </a:cubicBezTo>
                    <a:cubicBezTo>
                      <a:pt x="518" y="395"/>
                      <a:pt x="518" y="395"/>
                      <a:pt x="518" y="395"/>
                    </a:cubicBezTo>
                    <a:cubicBezTo>
                      <a:pt x="518" y="449"/>
                      <a:pt x="518" y="449"/>
                      <a:pt x="518" y="449"/>
                    </a:cubicBezTo>
                    <a:cubicBezTo>
                      <a:pt x="585" y="449"/>
                      <a:pt x="585" y="449"/>
                      <a:pt x="585" y="449"/>
                    </a:cubicBezTo>
                    <a:cubicBezTo>
                      <a:pt x="585" y="477"/>
                      <a:pt x="585" y="477"/>
                      <a:pt x="585" y="477"/>
                    </a:cubicBezTo>
                    <a:cubicBezTo>
                      <a:pt x="518" y="477"/>
                      <a:pt x="518" y="477"/>
                      <a:pt x="518" y="477"/>
                    </a:cubicBezTo>
                    <a:cubicBezTo>
                      <a:pt x="518" y="545"/>
                      <a:pt x="518" y="545"/>
                      <a:pt x="518" y="545"/>
                    </a:cubicBezTo>
                    <a:cubicBezTo>
                      <a:pt x="585" y="545"/>
                      <a:pt x="585" y="545"/>
                      <a:pt x="585" y="545"/>
                    </a:cubicBezTo>
                    <a:lnTo>
                      <a:pt x="585" y="55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  <p:sp>
            <p:nvSpPr>
              <p:cNvPr id="26" name="Freeform 585"/>
              <p:cNvSpPr>
                <a:spLocks noChangeArrowheads="1"/>
              </p:cNvSpPr>
              <p:nvPr/>
            </p:nvSpPr>
            <p:spPr bwMode="auto">
              <a:xfrm>
                <a:off x="16153089" y="11160709"/>
                <a:ext cx="54346" cy="79454"/>
              </a:xfrm>
              <a:custGeom>
                <a:avLst/>
                <a:gdLst>
                  <a:gd name="T0" fmla="*/ 28 w 57"/>
                  <a:gd name="T1" fmla="*/ 0 h 83"/>
                  <a:gd name="T2" fmla="*/ 28 w 57"/>
                  <a:gd name="T3" fmla="*/ 0 h 83"/>
                  <a:gd name="T4" fmla="*/ 28 w 57"/>
                  <a:gd name="T5" fmla="*/ 0 h 83"/>
                  <a:gd name="T6" fmla="*/ 14 w 57"/>
                  <a:gd name="T7" fmla="*/ 40 h 83"/>
                  <a:gd name="T8" fmla="*/ 0 w 57"/>
                  <a:gd name="T9" fmla="*/ 82 h 83"/>
                  <a:gd name="T10" fmla="*/ 56 w 57"/>
                  <a:gd name="T11" fmla="*/ 82 h 83"/>
                  <a:gd name="T12" fmla="*/ 42 w 57"/>
                  <a:gd name="T13" fmla="*/ 40 h 83"/>
                  <a:gd name="T14" fmla="*/ 28 w 57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83">
                    <a:moveTo>
                      <a:pt x="28" y="0"/>
                    </a:moveTo>
                    <a:lnTo>
                      <a:pt x="28" y="0"/>
                    </a:lnTo>
                    <a:lnTo>
                      <a:pt x="28" y="0"/>
                    </a:lnTo>
                    <a:cubicBezTo>
                      <a:pt x="28" y="14"/>
                      <a:pt x="28" y="27"/>
                      <a:pt x="14" y="4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56" y="82"/>
                      <a:pt x="56" y="82"/>
                      <a:pt x="56" y="82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28" y="27"/>
                      <a:pt x="28" y="14"/>
                      <a:pt x="28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none" lIns="76183" tIns="38092" rIns="76183" bIns="38092" anchor="ctr"/>
              <a:lstStyle/>
              <a:p>
                <a:pPr defTabSz="541655">
                  <a:defRPr/>
                </a:pPr>
                <a:endParaRPr lang="en-US" sz="900">
                  <a:latin typeface="Arial" panose="020B0604020202090204" pitchFamily="34" charset="0"/>
                  <a:ea typeface="微软雅黑" panose="020B0503020204020204" pitchFamily="34" charset="-122"/>
                  <a:cs typeface="Lato Light"/>
                  <a:sym typeface="Arial" panose="020B0604020202090204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五边形 1"/>
          <p:cNvSpPr/>
          <p:nvPr userDrawn="1"/>
        </p:nvSpPr>
        <p:spPr>
          <a:xfrm>
            <a:off x="0" y="0"/>
            <a:ext cx="3867807" cy="6858000"/>
          </a:xfrm>
          <a:prstGeom prst="homePlate">
            <a:avLst>
              <a:gd name="adj" fmla="val 17328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4800" b="1" spc="300" dirty="0" smtClean="0">
                <a:latin typeface="+mj-ea"/>
                <a:ea typeface="+mj-ea"/>
              </a:rPr>
              <a:t>目 录</a:t>
            </a:r>
            <a:endParaRPr lang="en-US" altLang="zh-CN" sz="4800" b="1" spc="300" dirty="0" smtClean="0">
              <a:latin typeface="+mj-ea"/>
              <a:ea typeface="+mj-ea"/>
            </a:endParaRPr>
          </a:p>
          <a:p>
            <a:pPr algn="ctr">
              <a:lnSpc>
                <a:spcPct val="150000"/>
              </a:lnSpc>
            </a:pPr>
            <a:r>
              <a:rPr lang="en-US" altLang="zh-CN" sz="4800" b="1" spc="300" dirty="0" smtClean="0">
                <a:ea typeface="+mj-ea"/>
              </a:rPr>
              <a:t>Content</a:t>
            </a:r>
            <a:endParaRPr lang="zh-CN" altLang="en-US" sz="4800" b="1" spc="300" dirty="0"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圆角矩形 18"/>
          <p:cNvSpPr/>
          <p:nvPr userDrawn="1"/>
        </p:nvSpPr>
        <p:spPr>
          <a:xfrm rot="2654918">
            <a:off x="2701997" y="2766830"/>
            <a:ext cx="1195641" cy="1195641"/>
          </a:xfrm>
          <a:prstGeom prst="roundRect">
            <a:avLst>
              <a:gd name="adj" fmla="val 15499"/>
            </a:avLst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斜纹 19"/>
          <p:cNvSpPr/>
          <p:nvPr userDrawn="1"/>
        </p:nvSpPr>
        <p:spPr>
          <a:xfrm>
            <a:off x="0" y="442762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1" name="斜纹 20"/>
          <p:cNvSpPr/>
          <p:nvPr userDrawn="1"/>
        </p:nvSpPr>
        <p:spPr>
          <a:xfrm>
            <a:off x="760396" y="0"/>
            <a:ext cx="1520792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5" name="斜纹 24"/>
          <p:cNvSpPr/>
          <p:nvPr userDrawn="1"/>
        </p:nvSpPr>
        <p:spPr>
          <a:xfrm flipV="1">
            <a:off x="0" y="5119611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6" name="斜纹 25"/>
          <p:cNvSpPr/>
          <p:nvPr userDrawn="1"/>
        </p:nvSpPr>
        <p:spPr>
          <a:xfrm flipV="1">
            <a:off x="518160" y="5289082"/>
            <a:ext cx="1763028" cy="1568918"/>
          </a:xfrm>
          <a:prstGeom prst="diagStripe">
            <a:avLst>
              <a:gd name="adj" fmla="val 88131"/>
            </a:avLst>
          </a:prstGeom>
          <a:gradFill flip="none" rotWithShape="1">
            <a:gsLst>
              <a:gs pos="0">
                <a:srgbClr val="B7CC3E">
                  <a:tint val="66000"/>
                  <a:satMod val="160000"/>
                </a:srgbClr>
              </a:gs>
              <a:gs pos="50000">
                <a:srgbClr val="B7CC3E">
                  <a:tint val="44500"/>
                  <a:satMod val="160000"/>
                </a:srgbClr>
              </a:gs>
              <a:gs pos="100000">
                <a:srgbClr val="B7CC3E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8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6" y="798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/>
          <p:cNvSpPr/>
          <p:nvPr userDrawn="1"/>
        </p:nvSpPr>
        <p:spPr>
          <a:xfrm>
            <a:off x="0" y="185738"/>
            <a:ext cx="481263" cy="603534"/>
          </a:xfrm>
          <a:prstGeom prst="rect">
            <a:avLst/>
          </a:prstGeom>
          <a:solidFill>
            <a:srgbClr val="B7C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1482291" y="3465094"/>
            <a:ext cx="9294029" cy="117909"/>
            <a:chOff x="566555" y="877035"/>
            <a:chExt cx="2340260" cy="164545"/>
          </a:xfrm>
        </p:grpSpPr>
        <p:sp>
          <p:nvSpPr>
            <p:cNvPr id="6" name="矩形 5"/>
            <p:cNvSpPr/>
            <p:nvPr/>
          </p:nvSpPr>
          <p:spPr>
            <a:xfrm>
              <a:off x="566555" y="877035"/>
              <a:ext cx="585065" cy="164545"/>
            </a:xfrm>
            <a:prstGeom prst="rect">
              <a:avLst/>
            </a:prstGeom>
            <a:solidFill>
              <a:srgbClr val="1B61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/>
            <p:cNvSpPr/>
            <p:nvPr/>
          </p:nvSpPr>
          <p:spPr>
            <a:xfrm>
              <a:off x="1151620" y="877035"/>
              <a:ext cx="585065" cy="164545"/>
            </a:xfrm>
            <a:prstGeom prst="rect">
              <a:avLst/>
            </a:prstGeom>
            <a:solidFill>
              <a:srgbClr val="B7CC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1736685" y="877035"/>
              <a:ext cx="585065" cy="164545"/>
            </a:xfrm>
            <a:prstGeom prst="rect">
              <a:avLst/>
            </a:prstGeom>
            <a:solidFill>
              <a:srgbClr val="70AC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2321750" y="877035"/>
              <a:ext cx="585065" cy="164545"/>
            </a:xfrm>
            <a:prstGeom prst="rect">
              <a:avLst/>
            </a:prstGeom>
            <a:solidFill>
              <a:srgbClr val="4E5A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5F815B-D2A8-49AA-98EB-8D2DDA0D8F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864A25-9965-4F61-8E8F-250006C6D194}" type="slidenum">
              <a:rPr lang="zh-CN" altLang="en-US" smtClean="0"/>
            </a:fld>
            <a:endParaRPr lang="zh-CN" altLang="en-US"/>
          </a:p>
        </p:txBody>
      </p:sp>
      <p:sp>
        <p:nvSpPr>
          <p:cNvPr id="8" name="TextBox 5"/>
          <p:cNvSpPr txBox="1"/>
          <p:nvPr userDrawn="1"/>
        </p:nvSpPr>
        <p:spPr>
          <a:xfrm>
            <a:off x="4635416" y="6543698"/>
            <a:ext cx="277509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120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Internal</a:t>
            </a:r>
            <a:r>
              <a:rPr lang="en-US" altLang="zh-CN" sz="1200" baseline="0" dirty="0" smtClean="0">
                <a:solidFill>
                  <a:schemeClr val="accent3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 use – confidential </a:t>
            </a:r>
            <a:endParaRPr lang="zh-CN" altLang="en-US" sz="1200" dirty="0" smtClean="0">
              <a:solidFill>
                <a:schemeClr val="accent3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7" name="图片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295" y="6084446"/>
            <a:ext cx="1411705" cy="717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10.xml"/><Relationship Id="rId1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11.xml"/><Relationship Id="rId1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2.xml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themeOverride" Target="../theme/themeOverride2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3.xml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4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5.xml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6.xml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8.xml"/><Relationship Id="rId1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hemeOverride" Target="../theme/themeOverride9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882867" y="1450436"/>
            <a:ext cx="10447282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6600" b="1" dirty="0" smtClean="0">
                <a:solidFill>
                  <a:srgbClr val="4E5A62"/>
                </a:solidFill>
                <a:latin typeface="+mj-ea"/>
                <a:ea typeface="+mj-ea"/>
              </a:rPr>
              <a:t>英语口语对话</a:t>
            </a:r>
            <a:endParaRPr lang="zh-CN" altLang="en-US" sz="6600" b="1" dirty="0" smtClean="0">
              <a:solidFill>
                <a:srgbClr val="4E5A62"/>
              </a:solidFill>
              <a:latin typeface="+mj-ea"/>
              <a:ea typeface="+mj-ea"/>
            </a:endParaRPr>
          </a:p>
          <a:p>
            <a:pPr algn="ctr">
              <a:lnSpc>
                <a:spcPct val="150000"/>
              </a:lnSpc>
            </a:pPr>
            <a:r>
              <a:rPr lang="zh-CN" altLang="en-US" sz="5400" b="1" dirty="0" smtClean="0">
                <a:solidFill>
                  <a:srgbClr val="4E5A62"/>
                </a:solidFill>
                <a:latin typeface="+mj-ea"/>
                <a:ea typeface="+mj-ea"/>
              </a:rPr>
              <a:t>情景模拟</a:t>
            </a:r>
            <a:endParaRPr lang="zh-CN" altLang="en-US" sz="5400" b="1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397765" y="4971392"/>
            <a:ext cx="3584027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solidFill>
                  <a:srgbClr val="4E5A62"/>
                </a:solidFill>
              </a:rPr>
              <a:t>制作单位：电子工程处</a:t>
            </a:r>
            <a:endParaRPr lang="en-US" altLang="zh-CN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E5A62"/>
                </a:solidFill>
              </a:rPr>
              <a:t>发布</a:t>
            </a:r>
            <a:r>
              <a:rPr lang="zh-CN" altLang="en-US" dirty="0" smtClean="0">
                <a:solidFill>
                  <a:srgbClr val="4E5A62"/>
                </a:solidFill>
              </a:rPr>
              <a:t>日期：</a:t>
            </a:r>
            <a:r>
              <a:rPr lang="en-US" altLang="zh-CN" dirty="0" smtClean="0">
                <a:solidFill>
                  <a:srgbClr val="4E5A62"/>
                </a:solidFill>
              </a:rPr>
              <a:t>2020.12.16</a:t>
            </a:r>
            <a:endParaRPr lang="en-US" altLang="zh-CN" dirty="0" smtClean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接听电话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7491730" cy="6047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这里是立讯精密精密有限公司，我是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。有什么可以帮到您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This is Luxshare.Hi,Lisa speaking.What can I do for you?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你好，我想找一下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err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先生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     Hello, I’d like to speak to Mr.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err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, please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请问您是哪位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   May I ask who is calling, please? 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我是英特尔公司的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     My name is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of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Intel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Company. 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请问您有什么事情想和他说呢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W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hat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do 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you wish to speak to him about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?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sz="1600" dirty="0" smtClean="0">
                <a:solidFill>
                  <a:schemeClr val="accent6">
                    <a:lumMod val="50000"/>
                  </a:schemeClr>
                </a:solidFill>
              </a:rPr>
              <a:t>我想跟他讨论一下我们上星期签订的合同。</a:t>
            </a:r>
            <a:endParaRPr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sz="1600" dirty="0" smtClean="0">
                <a:solidFill>
                  <a:schemeClr val="accent6">
                    <a:lumMod val="50000"/>
                  </a:schemeClr>
                </a:solidFill>
              </a:rPr>
              <a:t>        I want to discuss with him </a:t>
            </a:r>
            <a:r>
              <a:rPr lang="en-US" sz="1600" dirty="0" smtClean="0">
                <a:solidFill>
                  <a:schemeClr val="accent6">
                    <a:lumMod val="50000"/>
                  </a:schemeClr>
                </a:solidFill>
              </a:rPr>
              <a:t>about </a:t>
            </a:r>
            <a:r>
              <a:rPr sz="1600" dirty="0" smtClean="0">
                <a:solidFill>
                  <a:schemeClr val="accent6">
                    <a:lumMod val="50000"/>
                  </a:schemeClr>
                </a:solidFill>
              </a:rPr>
              <a:t>the contract we signed last week.</a:t>
            </a:r>
            <a:endParaRPr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我明白了，但是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Jerr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先生正在和总经理开会，我让他有空的时候给您回电话好吗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I see.But Mr. Jerry is in a meeting with the Managing Director at the moment.Shall I ask him to call you back when he is free?</a:t>
            </a:r>
            <a:endParaRPr lang="en-US" altLang="zh-CN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好的，那样最好了，谢谢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   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Okey,that's so good.Thanks!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242300" y="2216785"/>
            <a:ext cx="3281680" cy="28251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64145" y="1699895"/>
            <a:ext cx="3586480" cy="345821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餐厅点单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7947660" cy="5800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Jeffer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sz="1600" dirty="0" smtClean="0">
                <a:solidFill>
                  <a:schemeClr val="accent3">
                    <a:lumMod val="50000"/>
                  </a:schemeClr>
                </a:solidFill>
              </a:rPr>
              <a:t>你好，我们要个两人桌</a:t>
            </a:r>
            <a:r>
              <a:rPr lang="zh-CN" sz="1600" dirty="0" smtClean="0">
                <a:solidFill>
                  <a:schemeClr val="accent3">
                    <a:lumMod val="50000"/>
                  </a:schemeClr>
                </a:solidFill>
              </a:rPr>
              <a:t>。</a:t>
            </a:r>
            <a:endParaRPr lang="zh-CN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sz="1600" dirty="0" smtClean="0">
                <a:solidFill>
                  <a:schemeClr val="accent3">
                    <a:lumMod val="50000"/>
                  </a:schemeClr>
                </a:solidFill>
              </a:rPr>
              <a:t>             Hi, we would like to get a table for two. </a:t>
            </a:r>
            <a:endParaRPr lang="zh-CN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sz="1600" dirty="0" smtClean="0">
                <a:solidFill>
                  <a:schemeClr val="accent6">
                    <a:lumMod val="50000"/>
                  </a:schemeClr>
                </a:solidFill>
              </a:rPr>
              <a:t>好的，这边请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       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Ok,this way ,please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您好，我是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，这是你们的菜单，您准备好点餐了请跟我说。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      Hi, my name is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. This is our menu. When you are ready to order, please let me know.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effer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好的，我们需要一点时间，可以给我们先来点喝的吗？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rgbClr val="4E5A62"/>
                </a:solidFill>
              </a:rPr>
              <a:t>             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Ok. We need a few minutes to order, we would like to have something to drink right now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当然可以。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Sure,of course.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effer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1600" dirty="0" smtClean="0">
                <a:solidFill>
                  <a:schemeClr val="accent6">
                    <a:lumMod val="50000"/>
                  </a:schemeClr>
                </a:solidFill>
              </a:rPr>
              <a:t>我要一杯橙汁不加冰，你呢，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Alice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？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       I would like to have a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glass of juice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, no ice. What about you?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Alice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?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2">
                    <a:lumMod val="50000"/>
                  </a:schemeClr>
                </a:solidFill>
              </a:rPr>
              <a:t>Alice</a:t>
            </a:r>
            <a:r>
              <a:rPr lang="zh-CN" altLang="en-US" sz="1600" dirty="0" smtClean="0">
                <a:solidFill>
                  <a:schemeClr val="accent2">
                    <a:lumMod val="50000"/>
                  </a:schemeClr>
                </a:solidFill>
              </a:rPr>
              <a:t>：我要一杯热茶，谢谢。</a:t>
            </a:r>
            <a:endParaRPr lang="zh-CN" altLang="en-US" sz="16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2">
                    <a:lumMod val="50000"/>
                  </a:schemeClr>
                </a:solidFill>
              </a:rPr>
              <a:t>            I would like to have a cup of hot tea,</a:t>
            </a:r>
            <a:r>
              <a:rPr lang="en-US" altLang="zh-CN" sz="1600" dirty="0" smtClean="0">
                <a:solidFill>
                  <a:schemeClr val="accent2">
                    <a:lumMod val="50000"/>
                  </a:schemeClr>
                </a:solidFill>
              </a:rPr>
              <a:t>thanks.</a:t>
            </a:r>
            <a:endParaRPr lang="zh-CN" altLang="en-US" sz="16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2">
                    <a:lumMod val="50000"/>
                  </a:schemeClr>
                </a:solidFill>
              </a:rPr>
              <a:t>     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好的，我等会给您把喝的端上来。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     All right. I will be back in several minutes with your drinks. 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effer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谢谢，请尽快，我们非常口渴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       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hanks,as soon as posible.We are very thirsty</a:t>
            </a:r>
            <a:endParaRPr lang="en-US" altLang="zh-CN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5223642" y="2448911"/>
            <a:ext cx="18004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 smtClean="0">
                <a:solidFill>
                  <a:srgbClr val="4E5A62"/>
                </a:solidFill>
              </a:rPr>
              <a:t>Thanks</a:t>
            </a:r>
            <a:endParaRPr lang="zh-CN" altLang="en-US" sz="3600" b="1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val 16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32526" y="1221549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5" name="Oval 16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32526" y="2381706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6" name="Oval 16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32526" y="3562883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</a:t>
            </a:r>
            <a:endParaRPr lang="en-US" altLang="ko-KR" sz="2000" b="1" dirty="0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7" name="Oval 16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32526" y="4744061"/>
            <a:ext cx="539148" cy="533156"/>
          </a:xfrm>
          <a:prstGeom prst="ellipse">
            <a:avLst/>
          </a:prstGeom>
          <a:solidFill>
            <a:srgbClr val="B7CC3E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7972" rIns="0" bIns="47972" rtlCol="0" anchor="ctr"/>
          <a:lstStyle/>
          <a:p>
            <a:pPr algn="ctr" defTabSz="1217930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>
                <a:solidFill>
                  <a:srgbClr val="FFFFFF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</a:t>
            </a:r>
            <a:endParaRPr lang="en-US" altLang="ko-KR" sz="2000" b="1">
              <a:solidFill>
                <a:srgbClr val="FFFFFF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285187" y="1097775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 smtClean="0">
                <a:solidFill>
                  <a:srgbClr val="4E5A62"/>
                </a:solidFill>
              </a:rPr>
              <a:t>情景模拟</a:t>
            </a:r>
            <a:r>
              <a:rPr lang="en-US" altLang="zh-CN" sz="2800" dirty="0" smtClean="0">
                <a:solidFill>
                  <a:srgbClr val="4E5A62"/>
                </a:solidFill>
              </a:rPr>
              <a:t>1--</a:t>
            </a:r>
            <a:r>
              <a:rPr lang="zh-CN" altLang="en-US" sz="2800" dirty="0" smtClean="0">
                <a:solidFill>
                  <a:srgbClr val="4E5A62"/>
                </a:solidFill>
              </a:rPr>
              <a:t>见面寒暄</a:t>
            </a:r>
            <a:endParaRPr lang="zh-CN" altLang="en-US" sz="2800" dirty="0" smtClean="0">
              <a:solidFill>
                <a:srgbClr val="4E5A62"/>
              </a:solidFill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285187" y="2278952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2--</a:t>
            </a:r>
            <a:r>
              <a:rPr lang="zh-CN" altLang="en-US" sz="2800" dirty="0">
                <a:solidFill>
                  <a:srgbClr val="4E5A62"/>
                </a:solidFill>
              </a:rPr>
              <a:t>问路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6285187" y="3460129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3--</a:t>
            </a:r>
            <a:r>
              <a:rPr lang="zh-CN" altLang="en-US" sz="2800" dirty="0">
                <a:solidFill>
                  <a:srgbClr val="4E5A62"/>
                </a:solidFill>
              </a:rPr>
              <a:t>接听电话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6285187" y="4641307"/>
            <a:ext cx="3563008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>
                <a:solidFill>
                  <a:srgbClr val="4E5A62"/>
                </a:solidFill>
              </a:rPr>
              <a:t>情景模拟</a:t>
            </a:r>
            <a:r>
              <a:rPr lang="en-US" altLang="zh-CN" sz="2800" dirty="0">
                <a:solidFill>
                  <a:srgbClr val="4E5A62"/>
                </a:solidFill>
              </a:rPr>
              <a:t>4--</a:t>
            </a:r>
            <a:r>
              <a:rPr lang="zh-CN" altLang="en-US" sz="2800" dirty="0">
                <a:solidFill>
                  <a:srgbClr val="4E5A62"/>
                </a:solidFill>
              </a:rPr>
              <a:t>餐厅点单</a:t>
            </a:r>
            <a:endParaRPr lang="zh-CN" altLang="en-US" sz="2800" dirty="0">
              <a:solidFill>
                <a:srgbClr val="4E5A6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见面寒暄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151" y="1021956"/>
            <a:ext cx="7788165" cy="4969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地点：大马路上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时间：早上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王先生、李小姐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王：你好，李小姐，好久不见！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李：你好，王先生，最近过的好吗？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王：目前还可以，你呢？最近忙什么呢？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李：我刚从新西兰出差回来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王：听起来很不错，工作进展得顺利吗？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李：一般般，还有很多后续工作要做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王：好吧，慢慢来，干就完了！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李：谢谢～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065135" y="2162810"/>
            <a:ext cx="2542540" cy="25330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问路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6101080" cy="5215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地点：大马路上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时间：下午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A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B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打扰一下，你能告诉我怎么去超市吗？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B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当然可以，沿着这条街一直走然后在红路灯路口右转，然后一直往前走直到你在你左手边看到了银行，超市就在银行的旁边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多远呢？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B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大约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3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千米，你最好乘公交车去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我应该乘坐哪一路公交车呢？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B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10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路公交车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非常感谢！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B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不用谢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6763138" y="1523365"/>
            <a:ext cx="4765922" cy="3393440"/>
            <a:chOff x="9016" y="2525"/>
            <a:chExt cx="7505" cy="5344"/>
          </a:xfrm>
        </p:grpSpPr>
        <p:cxnSp>
          <p:nvCxnSpPr>
            <p:cNvPr id="5" name="肘形连接符 4"/>
            <p:cNvCxnSpPr/>
            <p:nvPr/>
          </p:nvCxnSpPr>
          <p:spPr>
            <a:xfrm>
              <a:off x="13146" y="2525"/>
              <a:ext cx="3358" cy="1832"/>
            </a:xfrm>
            <a:prstGeom prst="bentConnector3">
              <a:avLst>
                <a:gd name="adj1" fmla="val 297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肘形连接符 5"/>
            <p:cNvCxnSpPr/>
            <p:nvPr/>
          </p:nvCxnSpPr>
          <p:spPr>
            <a:xfrm flipV="1">
              <a:off x="13164" y="5374"/>
              <a:ext cx="3340" cy="2495"/>
            </a:xfrm>
            <a:prstGeom prst="bentConnector3">
              <a:avLst>
                <a:gd name="adj1" fmla="val 29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肘形连接符 6"/>
            <p:cNvCxnSpPr/>
            <p:nvPr/>
          </p:nvCxnSpPr>
          <p:spPr>
            <a:xfrm rot="10800000" flipV="1">
              <a:off x="9319" y="2525"/>
              <a:ext cx="2731" cy="1832"/>
            </a:xfrm>
            <a:prstGeom prst="bentConnector3">
              <a:avLst>
                <a:gd name="adj1" fmla="val -659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肘形连接符 7"/>
            <p:cNvCxnSpPr/>
            <p:nvPr/>
          </p:nvCxnSpPr>
          <p:spPr>
            <a:xfrm rot="10800000">
              <a:off x="9246" y="5374"/>
              <a:ext cx="2804" cy="2442"/>
            </a:xfrm>
            <a:prstGeom prst="bentConnector3">
              <a:avLst>
                <a:gd name="adj1" fmla="val -641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2050" y="4637"/>
              <a:ext cx="1086" cy="456"/>
            </a:xfrm>
            <a:prstGeom prst="rect">
              <a:avLst/>
            </a:prstGeom>
          </p:spPr>
        </p:pic>
        <p:sp>
          <p:nvSpPr>
            <p:cNvPr id="12" name="同侧圆角矩形 11"/>
            <p:cNvSpPr/>
            <p:nvPr/>
          </p:nvSpPr>
          <p:spPr>
            <a:xfrm>
              <a:off x="13181" y="7169"/>
              <a:ext cx="1276" cy="647"/>
            </a:xfrm>
            <a:prstGeom prst="round2Same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en-US" altLang="zh-CN" b="1">
                  <a:solidFill>
                    <a:schemeClr val="accent3">
                      <a:lumMod val="50000"/>
                    </a:schemeClr>
                  </a:solidFill>
                  <a:latin typeface="Arial Bold" panose="020B0604020202090204" charset="0"/>
                  <a:cs typeface="Arial Bold" panose="020B0604020202090204" charset="0"/>
                </a:rPr>
                <a:t>bank</a:t>
              </a:r>
              <a:endParaRPr lang="en-US" altLang="zh-CN" b="1">
                <a:solidFill>
                  <a:schemeClr val="accent3">
                    <a:lumMod val="50000"/>
                  </a:schemeClr>
                </a:solidFill>
                <a:latin typeface="Arial Bold" panose="020B0604020202090204" charset="0"/>
                <a:cs typeface="Arial Bold" panose="020B0604020202090204" charset="0"/>
              </a:endParaRPr>
            </a:p>
          </p:txBody>
        </p:sp>
        <p:sp>
          <p:nvSpPr>
            <p:cNvPr id="13" name="同侧圆角矩形 12"/>
            <p:cNvSpPr/>
            <p:nvPr/>
          </p:nvSpPr>
          <p:spPr>
            <a:xfrm>
              <a:off x="14457" y="7169"/>
              <a:ext cx="2064" cy="648"/>
            </a:xfrm>
            <a:prstGeom prst="round2SameRect">
              <a:avLst/>
            </a:prstGeom>
            <a:solidFill>
              <a:srgbClr val="B7CC3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en-US" altLang="zh-CN" sz="1400" b="1">
                  <a:solidFill>
                    <a:schemeClr val="accent3">
                      <a:lumMod val="50000"/>
                    </a:schemeClr>
                  </a:solidFill>
                  <a:latin typeface="Arial Bold" panose="020B0604020202090204" charset="0"/>
                  <a:cs typeface="Arial Bold" panose="020B0604020202090204" charset="0"/>
                </a:rPr>
                <a:t>supermarket</a:t>
              </a:r>
              <a:endParaRPr lang="en-US" altLang="zh-CN" sz="1400" b="1">
                <a:solidFill>
                  <a:schemeClr val="accent3">
                    <a:lumMod val="50000"/>
                  </a:schemeClr>
                </a:solidFill>
                <a:latin typeface="Arial Bold" panose="020B0604020202090204" charset="0"/>
                <a:cs typeface="Arial Bold" panose="020B0604020202090204" charset="0"/>
              </a:endParaRPr>
            </a:p>
          </p:txBody>
        </p:sp>
        <p:sp>
          <p:nvSpPr>
            <p:cNvPr id="140" name="Round Same Side Corner Rectangle 20"/>
            <p:cNvSpPr/>
            <p:nvPr/>
          </p:nvSpPr>
          <p:spPr>
            <a:xfrm rot="10800000">
              <a:off x="9016" y="4637"/>
              <a:ext cx="462" cy="985"/>
            </a:xfrm>
            <a:custGeom>
              <a:avLst/>
              <a:gdLst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521281 w 1856332"/>
                <a:gd name="connsiteY2" fmla="*/ 3174669 h 3959924"/>
                <a:gd name="connsiteX3" fmla="*/ 466697 w 1856332"/>
                <a:gd name="connsiteY3" fmla="*/ 3144149 h 3959924"/>
                <a:gd name="connsiteX4" fmla="*/ 8303 w 1856332"/>
                <a:gd name="connsiteY4" fmla="*/ 1942070 h 3959924"/>
                <a:gd name="connsiteX5" fmla="*/ 81139 w 1856332"/>
                <a:gd name="connsiteY5" fmla="*/ 1779444 h 3959924"/>
                <a:gd name="connsiteX6" fmla="*/ 243764 w 1856332"/>
                <a:gd name="connsiteY6" fmla="*/ 1852280 h 3959924"/>
                <a:gd name="connsiteX7" fmla="*/ 504770 w 1856332"/>
                <a:gd name="connsiteY7" fmla="*/ 2536736 h 3959924"/>
                <a:gd name="connsiteX8" fmla="*/ 555637 w 1856332"/>
                <a:gd name="connsiteY8" fmla="*/ 2536736 h 3959924"/>
                <a:gd name="connsiteX9" fmla="*/ 226299 w 1856332"/>
                <a:gd name="connsiteY9" fmla="*/ 1210417 h 3959924"/>
                <a:gd name="connsiteX10" fmla="*/ 551784 w 1856332"/>
                <a:gd name="connsiteY10" fmla="*/ 1210417 h 3959924"/>
                <a:gd name="connsiteX11" fmla="*/ 551784 w 1856332"/>
                <a:gd name="connsiteY11" fmla="*/ 168335 h 3959924"/>
                <a:gd name="connsiteX12" fmla="*/ 720119 w 1856332"/>
                <a:gd name="connsiteY12" fmla="*/ 0 h 3959924"/>
                <a:gd name="connsiteX13" fmla="*/ 888454 w 1856332"/>
                <a:gd name="connsiteY13" fmla="*/ 168335 h 3959924"/>
                <a:gd name="connsiteX14" fmla="*/ 888454 w 1856332"/>
                <a:gd name="connsiteY14" fmla="*/ 1210417 h 3959924"/>
                <a:gd name="connsiteX15" fmla="*/ 968040 w 1856332"/>
                <a:gd name="connsiteY15" fmla="*/ 1210417 h 3959924"/>
                <a:gd name="connsiteX16" fmla="*/ 968040 w 1856332"/>
                <a:gd name="connsiteY16" fmla="*/ 168335 h 3959924"/>
                <a:gd name="connsiteX17" fmla="*/ 1136375 w 1856332"/>
                <a:gd name="connsiteY17" fmla="*/ 0 h 3959924"/>
                <a:gd name="connsiteX18" fmla="*/ 1304710 w 1856332"/>
                <a:gd name="connsiteY18" fmla="*/ 168335 h 3959924"/>
                <a:gd name="connsiteX19" fmla="*/ 1304710 w 1856332"/>
                <a:gd name="connsiteY19" fmla="*/ 1210417 h 3959924"/>
                <a:gd name="connsiteX20" fmla="*/ 1631589 w 1856332"/>
                <a:gd name="connsiteY20" fmla="*/ 1210417 h 3959924"/>
                <a:gd name="connsiteX21" fmla="*/ 1302251 w 1856332"/>
                <a:gd name="connsiteY21" fmla="*/ 2536736 h 3959924"/>
                <a:gd name="connsiteX22" fmla="*/ 1351562 w 1856332"/>
                <a:gd name="connsiteY22" fmla="*/ 2536736 h 3959924"/>
                <a:gd name="connsiteX23" fmla="*/ 1612568 w 1856332"/>
                <a:gd name="connsiteY23" fmla="*/ 1852280 h 3959924"/>
                <a:gd name="connsiteX24" fmla="*/ 1775193 w 1856332"/>
                <a:gd name="connsiteY24" fmla="*/ 1779444 h 3959924"/>
                <a:gd name="connsiteX25" fmla="*/ 1848029 w 1856332"/>
                <a:gd name="connsiteY25" fmla="*/ 1942070 h 3959924"/>
                <a:gd name="connsiteX26" fmla="*/ 1389635 w 1856332"/>
                <a:gd name="connsiteY26" fmla="*/ 3144149 h 3959924"/>
                <a:gd name="connsiteX27" fmla="*/ 1344732 w 1856332"/>
                <a:gd name="connsiteY27" fmla="*/ 3176282 h 3959924"/>
                <a:gd name="connsiteX28" fmla="*/ 1228565 w 1856332"/>
                <a:gd name="connsiteY28" fmla="*/ 3214674 h 3959924"/>
                <a:gd name="connsiteX29" fmla="*/ 925623 w 1856332"/>
                <a:gd name="connsiteY29" fmla="*/ 3959924 h 3959924"/>
                <a:gd name="connsiteX30" fmla="*/ 601623 w 1856332"/>
                <a:gd name="connsiteY30" fmla="*/ 3635924 h 3959924"/>
                <a:gd name="connsiteX31" fmla="*/ 925623 w 1856332"/>
                <a:gd name="connsiteY31" fmla="*/ 3311924 h 3959924"/>
                <a:gd name="connsiteX32" fmla="*/ 1249623 w 1856332"/>
                <a:gd name="connsiteY32" fmla="*/ 3635924 h 3959924"/>
                <a:gd name="connsiteX33" fmla="*/ 925623 w 1856332"/>
                <a:gd name="connsiteY33" fmla="*/ 3959924 h 3959924"/>
                <a:gd name="connsiteX0-1" fmla="*/ 1228565 w 1856332"/>
                <a:gd name="connsiteY0-2" fmla="*/ 3214674 h 3959924"/>
                <a:gd name="connsiteX1-3" fmla="*/ 622681 w 1856332"/>
                <a:gd name="connsiteY1-4" fmla="*/ 3214674 h 3959924"/>
                <a:gd name="connsiteX2-5" fmla="*/ 466697 w 1856332"/>
                <a:gd name="connsiteY2-6" fmla="*/ 3144149 h 3959924"/>
                <a:gd name="connsiteX3-7" fmla="*/ 8303 w 1856332"/>
                <a:gd name="connsiteY3-8" fmla="*/ 1942070 h 3959924"/>
                <a:gd name="connsiteX4-9" fmla="*/ 81139 w 1856332"/>
                <a:gd name="connsiteY4-10" fmla="*/ 1779444 h 3959924"/>
                <a:gd name="connsiteX5-11" fmla="*/ 243764 w 1856332"/>
                <a:gd name="connsiteY5-12" fmla="*/ 1852280 h 3959924"/>
                <a:gd name="connsiteX6-13" fmla="*/ 504770 w 1856332"/>
                <a:gd name="connsiteY6-14" fmla="*/ 2536736 h 3959924"/>
                <a:gd name="connsiteX7-15" fmla="*/ 555637 w 1856332"/>
                <a:gd name="connsiteY7-16" fmla="*/ 2536736 h 3959924"/>
                <a:gd name="connsiteX8-17" fmla="*/ 226299 w 1856332"/>
                <a:gd name="connsiteY8-18" fmla="*/ 1210417 h 3959924"/>
                <a:gd name="connsiteX9-19" fmla="*/ 551784 w 1856332"/>
                <a:gd name="connsiteY9-20" fmla="*/ 1210417 h 3959924"/>
                <a:gd name="connsiteX10-21" fmla="*/ 551784 w 1856332"/>
                <a:gd name="connsiteY10-22" fmla="*/ 168335 h 3959924"/>
                <a:gd name="connsiteX11-23" fmla="*/ 720119 w 1856332"/>
                <a:gd name="connsiteY11-24" fmla="*/ 0 h 3959924"/>
                <a:gd name="connsiteX12-25" fmla="*/ 888454 w 1856332"/>
                <a:gd name="connsiteY12-26" fmla="*/ 168335 h 3959924"/>
                <a:gd name="connsiteX13-27" fmla="*/ 888454 w 1856332"/>
                <a:gd name="connsiteY13-28" fmla="*/ 1210417 h 3959924"/>
                <a:gd name="connsiteX14-29" fmla="*/ 968040 w 1856332"/>
                <a:gd name="connsiteY14-30" fmla="*/ 1210417 h 3959924"/>
                <a:gd name="connsiteX15-31" fmla="*/ 968040 w 1856332"/>
                <a:gd name="connsiteY15-32" fmla="*/ 168335 h 3959924"/>
                <a:gd name="connsiteX16-33" fmla="*/ 1136375 w 1856332"/>
                <a:gd name="connsiteY16-34" fmla="*/ 0 h 3959924"/>
                <a:gd name="connsiteX17-35" fmla="*/ 1304710 w 1856332"/>
                <a:gd name="connsiteY17-36" fmla="*/ 168335 h 3959924"/>
                <a:gd name="connsiteX18-37" fmla="*/ 1304710 w 1856332"/>
                <a:gd name="connsiteY18-38" fmla="*/ 1210417 h 3959924"/>
                <a:gd name="connsiteX19-39" fmla="*/ 1631589 w 1856332"/>
                <a:gd name="connsiteY19-40" fmla="*/ 1210417 h 3959924"/>
                <a:gd name="connsiteX20-41" fmla="*/ 1302251 w 1856332"/>
                <a:gd name="connsiteY20-42" fmla="*/ 2536736 h 3959924"/>
                <a:gd name="connsiteX21-43" fmla="*/ 1351562 w 1856332"/>
                <a:gd name="connsiteY21-44" fmla="*/ 2536736 h 3959924"/>
                <a:gd name="connsiteX22-45" fmla="*/ 1612568 w 1856332"/>
                <a:gd name="connsiteY22-46" fmla="*/ 1852280 h 3959924"/>
                <a:gd name="connsiteX23-47" fmla="*/ 1775193 w 1856332"/>
                <a:gd name="connsiteY23-48" fmla="*/ 1779444 h 3959924"/>
                <a:gd name="connsiteX24-49" fmla="*/ 1848029 w 1856332"/>
                <a:gd name="connsiteY24-50" fmla="*/ 1942070 h 3959924"/>
                <a:gd name="connsiteX25-51" fmla="*/ 1389635 w 1856332"/>
                <a:gd name="connsiteY25-52" fmla="*/ 3144149 h 3959924"/>
                <a:gd name="connsiteX26-53" fmla="*/ 1344732 w 1856332"/>
                <a:gd name="connsiteY26-54" fmla="*/ 3176282 h 3959924"/>
                <a:gd name="connsiteX27-55" fmla="*/ 1228565 w 1856332"/>
                <a:gd name="connsiteY27-56" fmla="*/ 3214674 h 3959924"/>
                <a:gd name="connsiteX28-57" fmla="*/ 925623 w 1856332"/>
                <a:gd name="connsiteY28-58" fmla="*/ 3959924 h 3959924"/>
                <a:gd name="connsiteX29-59" fmla="*/ 601623 w 1856332"/>
                <a:gd name="connsiteY29-60" fmla="*/ 3635924 h 3959924"/>
                <a:gd name="connsiteX30-61" fmla="*/ 925623 w 1856332"/>
                <a:gd name="connsiteY30-62" fmla="*/ 3311924 h 3959924"/>
                <a:gd name="connsiteX31-63" fmla="*/ 1249623 w 1856332"/>
                <a:gd name="connsiteY31-64" fmla="*/ 3635924 h 3959924"/>
                <a:gd name="connsiteX32-65" fmla="*/ 925623 w 1856332"/>
                <a:gd name="connsiteY32-66" fmla="*/ 3959924 h 3959924"/>
                <a:gd name="connsiteX0-67" fmla="*/ 1228565 w 1856332"/>
                <a:gd name="connsiteY0-68" fmla="*/ 3214674 h 3959924"/>
                <a:gd name="connsiteX1-69" fmla="*/ 622681 w 1856332"/>
                <a:gd name="connsiteY1-70" fmla="*/ 3214674 h 3959924"/>
                <a:gd name="connsiteX2-71" fmla="*/ 466697 w 1856332"/>
                <a:gd name="connsiteY2-72" fmla="*/ 3144149 h 3959924"/>
                <a:gd name="connsiteX3-73" fmla="*/ 8303 w 1856332"/>
                <a:gd name="connsiteY3-74" fmla="*/ 1942070 h 3959924"/>
                <a:gd name="connsiteX4-75" fmla="*/ 81139 w 1856332"/>
                <a:gd name="connsiteY4-76" fmla="*/ 1779444 h 3959924"/>
                <a:gd name="connsiteX5-77" fmla="*/ 243764 w 1856332"/>
                <a:gd name="connsiteY5-78" fmla="*/ 1852280 h 3959924"/>
                <a:gd name="connsiteX6-79" fmla="*/ 504770 w 1856332"/>
                <a:gd name="connsiteY6-80" fmla="*/ 2536736 h 3959924"/>
                <a:gd name="connsiteX7-81" fmla="*/ 555637 w 1856332"/>
                <a:gd name="connsiteY7-82" fmla="*/ 2536736 h 3959924"/>
                <a:gd name="connsiteX8-83" fmla="*/ 226299 w 1856332"/>
                <a:gd name="connsiteY8-84" fmla="*/ 1210417 h 3959924"/>
                <a:gd name="connsiteX9-85" fmla="*/ 551784 w 1856332"/>
                <a:gd name="connsiteY9-86" fmla="*/ 1210417 h 3959924"/>
                <a:gd name="connsiteX10-87" fmla="*/ 551784 w 1856332"/>
                <a:gd name="connsiteY10-88" fmla="*/ 168335 h 3959924"/>
                <a:gd name="connsiteX11-89" fmla="*/ 720119 w 1856332"/>
                <a:gd name="connsiteY11-90" fmla="*/ 0 h 3959924"/>
                <a:gd name="connsiteX12-91" fmla="*/ 888454 w 1856332"/>
                <a:gd name="connsiteY12-92" fmla="*/ 168335 h 3959924"/>
                <a:gd name="connsiteX13-93" fmla="*/ 888454 w 1856332"/>
                <a:gd name="connsiteY13-94" fmla="*/ 1210417 h 3959924"/>
                <a:gd name="connsiteX14-95" fmla="*/ 968040 w 1856332"/>
                <a:gd name="connsiteY14-96" fmla="*/ 1210417 h 3959924"/>
                <a:gd name="connsiteX15-97" fmla="*/ 968040 w 1856332"/>
                <a:gd name="connsiteY15-98" fmla="*/ 168335 h 3959924"/>
                <a:gd name="connsiteX16-99" fmla="*/ 1136375 w 1856332"/>
                <a:gd name="connsiteY16-100" fmla="*/ 0 h 3959924"/>
                <a:gd name="connsiteX17-101" fmla="*/ 1304710 w 1856332"/>
                <a:gd name="connsiteY17-102" fmla="*/ 168335 h 3959924"/>
                <a:gd name="connsiteX18-103" fmla="*/ 1304710 w 1856332"/>
                <a:gd name="connsiteY18-104" fmla="*/ 1210417 h 3959924"/>
                <a:gd name="connsiteX19-105" fmla="*/ 1631589 w 1856332"/>
                <a:gd name="connsiteY19-106" fmla="*/ 1210417 h 3959924"/>
                <a:gd name="connsiteX20-107" fmla="*/ 1302251 w 1856332"/>
                <a:gd name="connsiteY20-108" fmla="*/ 2536736 h 3959924"/>
                <a:gd name="connsiteX21-109" fmla="*/ 1351562 w 1856332"/>
                <a:gd name="connsiteY21-110" fmla="*/ 2536736 h 3959924"/>
                <a:gd name="connsiteX22-111" fmla="*/ 1612568 w 1856332"/>
                <a:gd name="connsiteY22-112" fmla="*/ 1852280 h 3959924"/>
                <a:gd name="connsiteX23-113" fmla="*/ 1775193 w 1856332"/>
                <a:gd name="connsiteY23-114" fmla="*/ 1779444 h 3959924"/>
                <a:gd name="connsiteX24-115" fmla="*/ 1848029 w 1856332"/>
                <a:gd name="connsiteY24-116" fmla="*/ 1942070 h 3959924"/>
                <a:gd name="connsiteX25-117" fmla="*/ 1389635 w 1856332"/>
                <a:gd name="connsiteY25-118" fmla="*/ 3144149 h 3959924"/>
                <a:gd name="connsiteX26-119" fmla="*/ 1344732 w 1856332"/>
                <a:gd name="connsiteY26-120" fmla="*/ 3176282 h 3959924"/>
                <a:gd name="connsiteX27-121" fmla="*/ 1228565 w 1856332"/>
                <a:gd name="connsiteY27-122" fmla="*/ 3214674 h 3959924"/>
                <a:gd name="connsiteX28-123" fmla="*/ 925623 w 1856332"/>
                <a:gd name="connsiteY28-124" fmla="*/ 3959924 h 3959924"/>
                <a:gd name="connsiteX29-125" fmla="*/ 601623 w 1856332"/>
                <a:gd name="connsiteY29-126" fmla="*/ 3635924 h 3959924"/>
                <a:gd name="connsiteX30-127" fmla="*/ 925623 w 1856332"/>
                <a:gd name="connsiteY30-128" fmla="*/ 3311924 h 3959924"/>
                <a:gd name="connsiteX31-129" fmla="*/ 1249623 w 1856332"/>
                <a:gd name="connsiteY31-130" fmla="*/ 3635924 h 3959924"/>
                <a:gd name="connsiteX32-131" fmla="*/ 925623 w 1856332"/>
                <a:gd name="connsiteY32-132" fmla="*/ 3959924 h 3959924"/>
                <a:gd name="connsiteX0-133" fmla="*/ 1228565 w 1856332"/>
                <a:gd name="connsiteY0-134" fmla="*/ 3214674 h 3959924"/>
                <a:gd name="connsiteX1-135" fmla="*/ 622681 w 1856332"/>
                <a:gd name="connsiteY1-136" fmla="*/ 3214674 h 3959924"/>
                <a:gd name="connsiteX2-137" fmla="*/ 466697 w 1856332"/>
                <a:gd name="connsiteY2-138" fmla="*/ 3144149 h 3959924"/>
                <a:gd name="connsiteX3-139" fmla="*/ 8303 w 1856332"/>
                <a:gd name="connsiteY3-140" fmla="*/ 1942070 h 3959924"/>
                <a:gd name="connsiteX4-141" fmla="*/ 81139 w 1856332"/>
                <a:gd name="connsiteY4-142" fmla="*/ 1779444 h 3959924"/>
                <a:gd name="connsiteX5-143" fmla="*/ 243764 w 1856332"/>
                <a:gd name="connsiteY5-144" fmla="*/ 1852280 h 3959924"/>
                <a:gd name="connsiteX6-145" fmla="*/ 504770 w 1856332"/>
                <a:gd name="connsiteY6-146" fmla="*/ 2536736 h 3959924"/>
                <a:gd name="connsiteX7-147" fmla="*/ 555637 w 1856332"/>
                <a:gd name="connsiteY7-148" fmla="*/ 2536736 h 3959924"/>
                <a:gd name="connsiteX8-149" fmla="*/ 226299 w 1856332"/>
                <a:gd name="connsiteY8-150" fmla="*/ 1210417 h 3959924"/>
                <a:gd name="connsiteX9-151" fmla="*/ 551784 w 1856332"/>
                <a:gd name="connsiteY9-152" fmla="*/ 1210417 h 3959924"/>
                <a:gd name="connsiteX10-153" fmla="*/ 551784 w 1856332"/>
                <a:gd name="connsiteY10-154" fmla="*/ 168335 h 3959924"/>
                <a:gd name="connsiteX11-155" fmla="*/ 720119 w 1856332"/>
                <a:gd name="connsiteY11-156" fmla="*/ 0 h 3959924"/>
                <a:gd name="connsiteX12-157" fmla="*/ 888454 w 1856332"/>
                <a:gd name="connsiteY12-158" fmla="*/ 168335 h 3959924"/>
                <a:gd name="connsiteX13-159" fmla="*/ 888454 w 1856332"/>
                <a:gd name="connsiteY13-160" fmla="*/ 1210417 h 3959924"/>
                <a:gd name="connsiteX14-161" fmla="*/ 968040 w 1856332"/>
                <a:gd name="connsiteY14-162" fmla="*/ 1210417 h 3959924"/>
                <a:gd name="connsiteX15-163" fmla="*/ 968040 w 1856332"/>
                <a:gd name="connsiteY15-164" fmla="*/ 168335 h 3959924"/>
                <a:gd name="connsiteX16-165" fmla="*/ 1136375 w 1856332"/>
                <a:gd name="connsiteY16-166" fmla="*/ 0 h 3959924"/>
                <a:gd name="connsiteX17-167" fmla="*/ 1304710 w 1856332"/>
                <a:gd name="connsiteY17-168" fmla="*/ 168335 h 3959924"/>
                <a:gd name="connsiteX18-169" fmla="*/ 1304710 w 1856332"/>
                <a:gd name="connsiteY18-170" fmla="*/ 1210417 h 3959924"/>
                <a:gd name="connsiteX19-171" fmla="*/ 1631589 w 1856332"/>
                <a:gd name="connsiteY19-172" fmla="*/ 1210417 h 3959924"/>
                <a:gd name="connsiteX20-173" fmla="*/ 1302251 w 1856332"/>
                <a:gd name="connsiteY20-174" fmla="*/ 2536736 h 3959924"/>
                <a:gd name="connsiteX21-175" fmla="*/ 1351562 w 1856332"/>
                <a:gd name="connsiteY21-176" fmla="*/ 2536736 h 3959924"/>
                <a:gd name="connsiteX22-177" fmla="*/ 1612568 w 1856332"/>
                <a:gd name="connsiteY22-178" fmla="*/ 1852280 h 3959924"/>
                <a:gd name="connsiteX23-179" fmla="*/ 1775193 w 1856332"/>
                <a:gd name="connsiteY23-180" fmla="*/ 1779444 h 3959924"/>
                <a:gd name="connsiteX24-181" fmla="*/ 1848029 w 1856332"/>
                <a:gd name="connsiteY24-182" fmla="*/ 1942070 h 3959924"/>
                <a:gd name="connsiteX25-183" fmla="*/ 1389635 w 1856332"/>
                <a:gd name="connsiteY25-184" fmla="*/ 3144149 h 3959924"/>
                <a:gd name="connsiteX26-185" fmla="*/ 1228565 w 1856332"/>
                <a:gd name="connsiteY26-186" fmla="*/ 3214674 h 3959924"/>
                <a:gd name="connsiteX27-187" fmla="*/ 925623 w 1856332"/>
                <a:gd name="connsiteY27-188" fmla="*/ 3959924 h 3959924"/>
                <a:gd name="connsiteX28-189" fmla="*/ 601623 w 1856332"/>
                <a:gd name="connsiteY28-190" fmla="*/ 3635924 h 3959924"/>
                <a:gd name="connsiteX29-191" fmla="*/ 925623 w 1856332"/>
                <a:gd name="connsiteY29-192" fmla="*/ 3311924 h 3959924"/>
                <a:gd name="connsiteX30-193" fmla="*/ 1249623 w 1856332"/>
                <a:gd name="connsiteY30-194" fmla="*/ 3635924 h 3959924"/>
                <a:gd name="connsiteX31-195" fmla="*/ 925623 w 1856332"/>
                <a:gd name="connsiteY31-196" fmla="*/ 3959924 h 3959924"/>
                <a:gd name="connsiteX0-197" fmla="*/ 1228565 w 1856332"/>
                <a:gd name="connsiteY0-198" fmla="*/ 3214674 h 3959924"/>
                <a:gd name="connsiteX1-199" fmla="*/ 622681 w 1856332"/>
                <a:gd name="connsiteY1-200" fmla="*/ 3214674 h 3959924"/>
                <a:gd name="connsiteX2-201" fmla="*/ 466697 w 1856332"/>
                <a:gd name="connsiteY2-202" fmla="*/ 3144149 h 3959924"/>
                <a:gd name="connsiteX3-203" fmla="*/ 8303 w 1856332"/>
                <a:gd name="connsiteY3-204" fmla="*/ 1942070 h 3959924"/>
                <a:gd name="connsiteX4-205" fmla="*/ 81139 w 1856332"/>
                <a:gd name="connsiteY4-206" fmla="*/ 1779444 h 3959924"/>
                <a:gd name="connsiteX5-207" fmla="*/ 243764 w 1856332"/>
                <a:gd name="connsiteY5-208" fmla="*/ 1852280 h 3959924"/>
                <a:gd name="connsiteX6-209" fmla="*/ 504770 w 1856332"/>
                <a:gd name="connsiteY6-210" fmla="*/ 2536736 h 3959924"/>
                <a:gd name="connsiteX7-211" fmla="*/ 555637 w 1856332"/>
                <a:gd name="connsiteY7-212" fmla="*/ 2536736 h 3959924"/>
                <a:gd name="connsiteX8-213" fmla="*/ 226299 w 1856332"/>
                <a:gd name="connsiteY8-214" fmla="*/ 1210417 h 3959924"/>
                <a:gd name="connsiteX9-215" fmla="*/ 551784 w 1856332"/>
                <a:gd name="connsiteY9-216" fmla="*/ 1210417 h 3959924"/>
                <a:gd name="connsiteX10-217" fmla="*/ 551784 w 1856332"/>
                <a:gd name="connsiteY10-218" fmla="*/ 168335 h 3959924"/>
                <a:gd name="connsiteX11-219" fmla="*/ 720119 w 1856332"/>
                <a:gd name="connsiteY11-220" fmla="*/ 0 h 3959924"/>
                <a:gd name="connsiteX12-221" fmla="*/ 888454 w 1856332"/>
                <a:gd name="connsiteY12-222" fmla="*/ 168335 h 3959924"/>
                <a:gd name="connsiteX13-223" fmla="*/ 888454 w 1856332"/>
                <a:gd name="connsiteY13-224" fmla="*/ 1210417 h 3959924"/>
                <a:gd name="connsiteX14-225" fmla="*/ 968040 w 1856332"/>
                <a:gd name="connsiteY14-226" fmla="*/ 1210417 h 3959924"/>
                <a:gd name="connsiteX15-227" fmla="*/ 968040 w 1856332"/>
                <a:gd name="connsiteY15-228" fmla="*/ 168335 h 3959924"/>
                <a:gd name="connsiteX16-229" fmla="*/ 1136375 w 1856332"/>
                <a:gd name="connsiteY16-230" fmla="*/ 0 h 3959924"/>
                <a:gd name="connsiteX17-231" fmla="*/ 1304710 w 1856332"/>
                <a:gd name="connsiteY17-232" fmla="*/ 168335 h 3959924"/>
                <a:gd name="connsiteX18-233" fmla="*/ 1304710 w 1856332"/>
                <a:gd name="connsiteY18-234" fmla="*/ 1210417 h 3959924"/>
                <a:gd name="connsiteX19-235" fmla="*/ 1631589 w 1856332"/>
                <a:gd name="connsiteY19-236" fmla="*/ 1210417 h 3959924"/>
                <a:gd name="connsiteX20-237" fmla="*/ 1302251 w 1856332"/>
                <a:gd name="connsiteY20-238" fmla="*/ 2536736 h 3959924"/>
                <a:gd name="connsiteX21-239" fmla="*/ 1351562 w 1856332"/>
                <a:gd name="connsiteY21-240" fmla="*/ 2536736 h 3959924"/>
                <a:gd name="connsiteX22-241" fmla="*/ 1612568 w 1856332"/>
                <a:gd name="connsiteY22-242" fmla="*/ 1852280 h 3959924"/>
                <a:gd name="connsiteX23-243" fmla="*/ 1775193 w 1856332"/>
                <a:gd name="connsiteY23-244" fmla="*/ 1779444 h 3959924"/>
                <a:gd name="connsiteX24-245" fmla="*/ 1848029 w 1856332"/>
                <a:gd name="connsiteY24-246" fmla="*/ 1942070 h 3959924"/>
                <a:gd name="connsiteX25-247" fmla="*/ 1389635 w 1856332"/>
                <a:gd name="connsiteY25-248" fmla="*/ 3144149 h 3959924"/>
                <a:gd name="connsiteX26-249" fmla="*/ 1228565 w 1856332"/>
                <a:gd name="connsiteY26-250" fmla="*/ 3214674 h 3959924"/>
                <a:gd name="connsiteX27-251" fmla="*/ 925623 w 1856332"/>
                <a:gd name="connsiteY27-252" fmla="*/ 3959924 h 3959924"/>
                <a:gd name="connsiteX28-253" fmla="*/ 601623 w 1856332"/>
                <a:gd name="connsiteY28-254" fmla="*/ 3635924 h 3959924"/>
                <a:gd name="connsiteX29-255" fmla="*/ 925623 w 1856332"/>
                <a:gd name="connsiteY29-256" fmla="*/ 3311924 h 3959924"/>
                <a:gd name="connsiteX30-257" fmla="*/ 1249623 w 1856332"/>
                <a:gd name="connsiteY30-258" fmla="*/ 3635924 h 3959924"/>
                <a:gd name="connsiteX31-259" fmla="*/ 925623 w 1856332"/>
                <a:gd name="connsiteY31-260" fmla="*/ 3959924 h 3959924"/>
                <a:gd name="connsiteX0-261" fmla="*/ 1228565 w 1856332"/>
                <a:gd name="connsiteY0-262" fmla="*/ 3214674 h 3959924"/>
                <a:gd name="connsiteX1-263" fmla="*/ 622681 w 1856332"/>
                <a:gd name="connsiteY1-264" fmla="*/ 3214674 h 3959924"/>
                <a:gd name="connsiteX2-265" fmla="*/ 466697 w 1856332"/>
                <a:gd name="connsiteY2-266" fmla="*/ 3144149 h 3959924"/>
                <a:gd name="connsiteX3-267" fmla="*/ 8303 w 1856332"/>
                <a:gd name="connsiteY3-268" fmla="*/ 1942070 h 3959924"/>
                <a:gd name="connsiteX4-269" fmla="*/ 81139 w 1856332"/>
                <a:gd name="connsiteY4-270" fmla="*/ 1779444 h 3959924"/>
                <a:gd name="connsiteX5-271" fmla="*/ 243764 w 1856332"/>
                <a:gd name="connsiteY5-272" fmla="*/ 1852280 h 3959924"/>
                <a:gd name="connsiteX6-273" fmla="*/ 504770 w 1856332"/>
                <a:gd name="connsiteY6-274" fmla="*/ 2536736 h 3959924"/>
                <a:gd name="connsiteX7-275" fmla="*/ 555637 w 1856332"/>
                <a:gd name="connsiteY7-276" fmla="*/ 2536736 h 3959924"/>
                <a:gd name="connsiteX8-277" fmla="*/ 226299 w 1856332"/>
                <a:gd name="connsiteY8-278" fmla="*/ 1210417 h 3959924"/>
                <a:gd name="connsiteX9-279" fmla="*/ 551784 w 1856332"/>
                <a:gd name="connsiteY9-280" fmla="*/ 1210417 h 3959924"/>
                <a:gd name="connsiteX10-281" fmla="*/ 551784 w 1856332"/>
                <a:gd name="connsiteY10-282" fmla="*/ 168335 h 3959924"/>
                <a:gd name="connsiteX11-283" fmla="*/ 720119 w 1856332"/>
                <a:gd name="connsiteY11-284" fmla="*/ 0 h 3959924"/>
                <a:gd name="connsiteX12-285" fmla="*/ 888454 w 1856332"/>
                <a:gd name="connsiteY12-286" fmla="*/ 168335 h 3959924"/>
                <a:gd name="connsiteX13-287" fmla="*/ 888454 w 1856332"/>
                <a:gd name="connsiteY13-288" fmla="*/ 1210417 h 3959924"/>
                <a:gd name="connsiteX14-289" fmla="*/ 968040 w 1856332"/>
                <a:gd name="connsiteY14-290" fmla="*/ 1210417 h 3959924"/>
                <a:gd name="connsiteX15-291" fmla="*/ 968040 w 1856332"/>
                <a:gd name="connsiteY15-292" fmla="*/ 168335 h 3959924"/>
                <a:gd name="connsiteX16-293" fmla="*/ 1136375 w 1856332"/>
                <a:gd name="connsiteY16-294" fmla="*/ 0 h 3959924"/>
                <a:gd name="connsiteX17-295" fmla="*/ 1304710 w 1856332"/>
                <a:gd name="connsiteY17-296" fmla="*/ 168335 h 3959924"/>
                <a:gd name="connsiteX18-297" fmla="*/ 1304710 w 1856332"/>
                <a:gd name="connsiteY18-298" fmla="*/ 1210417 h 3959924"/>
                <a:gd name="connsiteX19-299" fmla="*/ 1631589 w 1856332"/>
                <a:gd name="connsiteY19-300" fmla="*/ 1210417 h 3959924"/>
                <a:gd name="connsiteX20-301" fmla="*/ 1302251 w 1856332"/>
                <a:gd name="connsiteY20-302" fmla="*/ 2536736 h 3959924"/>
                <a:gd name="connsiteX21-303" fmla="*/ 1351562 w 1856332"/>
                <a:gd name="connsiteY21-304" fmla="*/ 2536736 h 3959924"/>
                <a:gd name="connsiteX22-305" fmla="*/ 1612568 w 1856332"/>
                <a:gd name="connsiteY22-306" fmla="*/ 1852280 h 3959924"/>
                <a:gd name="connsiteX23-307" fmla="*/ 1775193 w 1856332"/>
                <a:gd name="connsiteY23-308" fmla="*/ 1779444 h 3959924"/>
                <a:gd name="connsiteX24-309" fmla="*/ 1848029 w 1856332"/>
                <a:gd name="connsiteY24-310" fmla="*/ 1942070 h 3959924"/>
                <a:gd name="connsiteX25-311" fmla="*/ 1389635 w 1856332"/>
                <a:gd name="connsiteY25-312" fmla="*/ 3144149 h 3959924"/>
                <a:gd name="connsiteX26-313" fmla="*/ 1228565 w 1856332"/>
                <a:gd name="connsiteY26-314" fmla="*/ 3214674 h 3959924"/>
                <a:gd name="connsiteX27-315" fmla="*/ 925623 w 1856332"/>
                <a:gd name="connsiteY27-316" fmla="*/ 3959924 h 3959924"/>
                <a:gd name="connsiteX28-317" fmla="*/ 601623 w 1856332"/>
                <a:gd name="connsiteY28-318" fmla="*/ 3635924 h 3959924"/>
                <a:gd name="connsiteX29-319" fmla="*/ 925623 w 1856332"/>
                <a:gd name="connsiteY29-320" fmla="*/ 3311924 h 3959924"/>
                <a:gd name="connsiteX30-321" fmla="*/ 1249623 w 1856332"/>
                <a:gd name="connsiteY30-322" fmla="*/ 3635924 h 3959924"/>
                <a:gd name="connsiteX31-323" fmla="*/ 925623 w 1856332"/>
                <a:gd name="connsiteY31-324" fmla="*/ 3959924 h 395992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  <a:cxn ang="0">
                  <a:pos x="connsiteX14-29" y="connsiteY14-30"/>
                </a:cxn>
                <a:cxn ang="0">
                  <a:pos x="connsiteX15-31" y="connsiteY15-32"/>
                </a:cxn>
                <a:cxn ang="0">
                  <a:pos x="connsiteX16-33" y="connsiteY16-34"/>
                </a:cxn>
                <a:cxn ang="0">
                  <a:pos x="connsiteX17-35" y="connsiteY17-36"/>
                </a:cxn>
                <a:cxn ang="0">
                  <a:pos x="connsiteX18-37" y="connsiteY18-38"/>
                </a:cxn>
                <a:cxn ang="0">
                  <a:pos x="connsiteX19-39" y="connsiteY19-40"/>
                </a:cxn>
                <a:cxn ang="0">
                  <a:pos x="connsiteX20-41" y="connsiteY20-42"/>
                </a:cxn>
                <a:cxn ang="0">
                  <a:pos x="connsiteX21-43" y="connsiteY21-44"/>
                </a:cxn>
                <a:cxn ang="0">
                  <a:pos x="connsiteX22-45" y="connsiteY22-46"/>
                </a:cxn>
                <a:cxn ang="0">
                  <a:pos x="connsiteX23-47" y="connsiteY23-48"/>
                </a:cxn>
                <a:cxn ang="0">
                  <a:pos x="connsiteX24-49" y="connsiteY24-50"/>
                </a:cxn>
                <a:cxn ang="0">
                  <a:pos x="connsiteX25-51" y="connsiteY25-52"/>
                </a:cxn>
                <a:cxn ang="0">
                  <a:pos x="connsiteX26-53" y="connsiteY26-54"/>
                </a:cxn>
                <a:cxn ang="0">
                  <a:pos x="connsiteX27-55" y="connsiteY27-56"/>
                </a:cxn>
                <a:cxn ang="0">
                  <a:pos x="connsiteX28-57" y="connsiteY28-58"/>
                </a:cxn>
                <a:cxn ang="0">
                  <a:pos x="connsiteX29-59" y="connsiteY29-60"/>
                </a:cxn>
                <a:cxn ang="0">
                  <a:pos x="connsiteX30-61" y="connsiteY30-62"/>
                </a:cxn>
                <a:cxn ang="0">
                  <a:pos x="connsiteX31-63" y="connsiteY31-64"/>
                </a:cxn>
              </a:cxnLst>
              <a:rect l="l" t="t" r="r" b="b"/>
              <a:pathLst>
                <a:path w="1856332" h="3959924">
                  <a:moveTo>
                    <a:pt x="1228565" y="3214674"/>
                  </a:moveTo>
                  <a:lnTo>
                    <a:pt x="622681" y="3214674"/>
                  </a:lnTo>
                  <a:cubicBezTo>
                    <a:pt x="495703" y="3202920"/>
                    <a:pt x="501057" y="3225622"/>
                    <a:pt x="466697" y="3144149"/>
                  </a:cubicBezTo>
                  <a:lnTo>
                    <a:pt x="8303" y="1942070"/>
                  </a:lnTo>
                  <a:cubicBezTo>
                    <a:pt x="-16491" y="1877049"/>
                    <a:pt x="16118" y="1804239"/>
                    <a:pt x="81139" y="1779444"/>
                  </a:cubicBezTo>
                  <a:cubicBezTo>
                    <a:pt x="146160" y="1754650"/>
                    <a:pt x="218970" y="1787259"/>
                    <a:pt x="243764" y="1852280"/>
                  </a:cubicBezTo>
                  <a:lnTo>
                    <a:pt x="504770" y="2536736"/>
                  </a:lnTo>
                  <a:lnTo>
                    <a:pt x="555637" y="2536736"/>
                  </a:lnTo>
                  <a:lnTo>
                    <a:pt x="226299" y="1210417"/>
                  </a:lnTo>
                  <a:lnTo>
                    <a:pt x="551784" y="1210417"/>
                  </a:lnTo>
                  <a:lnTo>
                    <a:pt x="551784" y="168335"/>
                  </a:lnTo>
                  <a:cubicBezTo>
                    <a:pt x="551784" y="75366"/>
                    <a:pt x="627150" y="0"/>
                    <a:pt x="720119" y="0"/>
                  </a:cubicBezTo>
                  <a:cubicBezTo>
                    <a:pt x="813088" y="0"/>
                    <a:pt x="888454" y="75366"/>
                    <a:pt x="888454" y="168335"/>
                  </a:cubicBezTo>
                  <a:lnTo>
                    <a:pt x="888454" y="1210417"/>
                  </a:lnTo>
                  <a:lnTo>
                    <a:pt x="968040" y="1210417"/>
                  </a:lnTo>
                  <a:lnTo>
                    <a:pt x="968040" y="168335"/>
                  </a:lnTo>
                  <a:cubicBezTo>
                    <a:pt x="968040" y="75366"/>
                    <a:pt x="1043406" y="0"/>
                    <a:pt x="1136375" y="0"/>
                  </a:cubicBezTo>
                  <a:cubicBezTo>
                    <a:pt x="1229344" y="0"/>
                    <a:pt x="1304710" y="75366"/>
                    <a:pt x="1304710" y="168335"/>
                  </a:cubicBezTo>
                  <a:lnTo>
                    <a:pt x="1304710" y="1210417"/>
                  </a:lnTo>
                  <a:lnTo>
                    <a:pt x="1631589" y="1210417"/>
                  </a:lnTo>
                  <a:lnTo>
                    <a:pt x="1302251" y="2536736"/>
                  </a:lnTo>
                  <a:lnTo>
                    <a:pt x="1351562" y="2536736"/>
                  </a:lnTo>
                  <a:lnTo>
                    <a:pt x="1612568" y="1852280"/>
                  </a:lnTo>
                  <a:cubicBezTo>
                    <a:pt x="1637362" y="1787259"/>
                    <a:pt x="1710172" y="1754650"/>
                    <a:pt x="1775193" y="1779444"/>
                  </a:cubicBezTo>
                  <a:cubicBezTo>
                    <a:pt x="1840214" y="1804239"/>
                    <a:pt x="1872823" y="1877049"/>
                    <a:pt x="1848029" y="1942070"/>
                  </a:cubicBezTo>
                  <a:lnTo>
                    <a:pt x="1389635" y="3144149"/>
                  </a:lnTo>
                  <a:cubicBezTo>
                    <a:pt x="1348984" y="3225622"/>
                    <a:pt x="1356391" y="3202920"/>
                    <a:pt x="1228565" y="3214674"/>
                  </a:cubicBezTo>
                  <a:close/>
                  <a:moveTo>
                    <a:pt x="925623" y="3959924"/>
                  </a:moveTo>
                  <a:cubicBezTo>
                    <a:pt x="746683" y="3959924"/>
                    <a:pt x="601623" y="3814864"/>
                    <a:pt x="601623" y="3635924"/>
                  </a:cubicBezTo>
                  <a:cubicBezTo>
                    <a:pt x="601623" y="3456984"/>
                    <a:pt x="746683" y="3311924"/>
                    <a:pt x="925623" y="3311924"/>
                  </a:cubicBezTo>
                  <a:cubicBezTo>
                    <a:pt x="1104563" y="3311924"/>
                    <a:pt x="1249623" y="3456984"/>
                    <a:pt x="1249623" y="3635924"/>
                  </a:cubicBezTo>
                  <a:cubicBezTo>
                    <a:pt x="1249623" y="3814864"/>
                    <a:pt x="1104563" y="3959924"/>
                    <a:pt x="925623" y="3959924"/>
                  </a:cubicBezTo>
                  <a:close/>
                </a:path>
              </a:pathLst>
            </a:custGeom>
            <a:solidFill>
              <a:srgbClr val="1A75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ko-KR" altLang="en-US" sz="2400"/>
            </a:p>
          </p:txBody>
        </p:sp>
        <p:sp>
          <p:nvSpPr>
            <p:cNvPr id="14" name="燕尾形箭头 13"/>
            <p:cNvSpPr/>
            <p:nvPr/>
          </p:nvSpPr>
          <p:spPr>
            <a:xfrm>
              <a:off x="9894" y="4734"/>
              <a:ext cx="1581" cy="359"/>
            </a:xfrm>
            <a:prstGeom prst="notchedRightArrow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  <p:cxnSp>
        <p:nvCxnSpPr>
          <p:cNvPr id="16" name="直接连接符 15"/>
          <p:cNvCxnSpPr/>
          <p:nvPr/>
        </p:nvCxnSpPr>
        <p:spPr>
          <a:xfrm flipV="1">
            <a:off x="9408160" y="4888230"/>
            <a:ext cx="2041525" cy="2286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3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接听电话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7491730" cy="5215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地点：办公室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时间：早上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打电话的人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Tom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前台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Lisa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这里是立讯精密精密有限公司，我是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。有什么可以帮到您？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你好，我想找一下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err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先生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请问您是哪位？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我是英特尔公司的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请问您有什么事情想和他说呢？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sz="1600" dirty="0" smtClean="0">
                <a:solidFill>
                  <a:schemeClr val="accent6">
                    <a:lumMod val="50000"/>
                  </a:schemeClr>
                </a:solidFill>
              </a:rPr>
              <a:t>我想跟他讨论一下我们上星期签订的合同。</a:t>
            </a:r>
            <a:endParaRPr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Lis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我明白了，但是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Jerr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先生正在和总经理开会，我让他有空的时候给您回电话好吗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om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好的，那样最好了，谢谢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242300" y="2216785"/>
            <a:ext cx="3281680" cy="28251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903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20433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4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餐厅点单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7491730" cy="5215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背景提示：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地点：餐厅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发生时间：晚上</a:t>
            </a:r>
            <a:endParaRPr lang="zh-CN" altLang="en-US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400" i="1" dirty="0" smtClean="0">
                <a:solidFill>
                  <a:srgbClr val="4E5A62"/>
                </a:solidFill>
              </a:rPr>
              <a:t>事件参与人物：服务员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Ammy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顾客：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Alice</a:t>
            </a:r>
            <a:r>
              <a:rPr lang="zh-CN" altLang="en-US" sz="1400" i="1" dirty="0" smtClean="0">
                <a:solidFill>
                  <a:srgbClr val="4E5A62"/>
                </a:solidFill>
              </a:rPr>
              <a:t>、</a:t>
            </a:r>
            <a:r>
              <a:rPr lang="en-US" altLang="zh-CN" sz="1400" i="1" dirty="0" smtClean="0">
                <a:solidFill>
                  <a:srgbClr val="4E5A62"/>
                </a:solidFill>
              </a:rPr>
              <a:t>Jeffery</a:t>
            </a:r>
            <a:endParaRPr lang="en-US" altLang="zh-CN" sz="1400" i="1" dirty="0" smtClean="0">
              <a:solidFill>
                <a:srgbClr val="4E5A62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Jeffer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</a:t>
            </a:r>
            <a:r>
              <a:rPr sz="1600" dirty="0" smtClean="0">
                <a:solidFill>
                  <a:schemeClr val="accent3">
                    <a:lumMod val="50000"/>
                  </a:schemeClr>
                </a:solidFill>
              </a:rPr>
              <a:t>你好，我们要个两人桌</a:t>
            </a:r>
            <a:r>
              <a:rPr lang="zh-CN" sz="1600" dirty="0" smtClean="0">
                <a:solidFill>
                  <a:schemeClr val="accent3">
                    <a:lumMod val="50000"/>
                  </a:schemeClr>
                </a:solidFill>
              </a:rPr>
              <a:t>。</a:t>
            </a:r>
            <a:endParaRPr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sz="1600" dirty="0" smtClean="0">
                <a:solidFill>
                  <a:schemeClr val="accent6">
                    <a:lumMod val="50000"/>
                  </a:schemeClr>
                </a:solidFill>
              </a:rPr>
              <a:t>好的，这边请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您好，我是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，这是你们的菜单，您准备好点餐了请跟我说。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effer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好的，我们需要一点时间，可以给我们先来点喝的吗？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当然可以。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effer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zh-CN" sz="1600" dirty="0" smtClean="0">
                <a:solidFill>
                  <a:schemeClr val="accent6">
                    <a:lumMod val="50000"/>
                  </a:schemeClr>
                </a:solidFill>
              </a:rPr>
              <a:t>我要一杯橙汁不加冰，你呢，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Alice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？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2">
                    <a:lumMod val="50000"/>
                  </a:schemeClr>
                </a:solidFill>
              </a:rPr>
              <a:t>Alice</a:t>
            </a:r>
            <a:r>
              <a:rPr lang="zh-CN" altLang="en-US" sz="1600" dirty="0" smtClean="0">
                <a:solidFill>
                  <a:schemeClr val="accent2">
                    <a:lumMod val="50000"/>
                  </a:schemeClr>
                </a:solidFill>
              </a:rPr>
              <a:t>：我要一杯热茶，谢谢。</a:t>
            </a:r>
            <a:endParaRPr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mmy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好的，我等会给您把喝的端上来。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effery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谢谢，请尽快，我们非常口渴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64145" y="1699895"/>
            <a:ext cx="3586480" cy="34582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214650" y="2862753"/>
            <a:ext cx="5150069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dirty="0" smtClean="0">
                <a:solidFill>
                  <a:srgbClr val="4E5A62"/>
                </a:solidFill>
                <a:latin typeface="+mj-ea"/>
                <a:ea typeface="+mj-ea"/>
              </a:rPr>
              <a:t>答案解析</a:t>
            </a:r>
            <a:endParaRPr lang="zh-CN" altLang="en-US" sz="4000" dirty="0" smtClean="0">
              <a:solidFill>
                <a:srgbClr val="4E5A62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6755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1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见面寒暄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151" y="1021956"/>
            <a:ext cx="7788165" cy="5631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王：你好，李小姐，好久不见！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Hi,Miss Li,haven't seen you for such a long time!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李：你好，王先生，最近过的好吗？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rgbClr val="4E5A62"/>
                </a:solidFill>
              </a:rPr>
              <a:t>      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Hi,Mr wang,how is it going?</a:t>
            </a:r>
            <a:endParaRPr lang="en-US" altLang="zh-CN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王：目前还可以，你呢？最近忙什么呢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So far so good,what about you?What are you busy with recently?</a:t>
            </a:r>
            <a:endParaRPr lang="en-US" altLang="zh-CN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李：我刚从新西兰出差回来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  I just came back from a business trip from New Zealand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王：听起来很不错，工作进展得顺利吗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Sounds great,Is the work going well?</a:t>
            </a:r>
            <a:endParaRPr lang="en-US" altLang="zh-CN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李：一般般，还有很多后续工作要做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 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Just so-so.There is still a lot of follow-up work to be done.</a:t>
            </a:r>
            <a:endParaRPr lang="en-US" altLang="zh-CN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王：好吧，慢慢来，干就完了！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Fine,take your time,just do it!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  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李：谢谢～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 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Thanks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～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065135" y="2162810"/>
            <a:ext cx="2542540" cy="25330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70625"/>
            <a:ext cx="2743200" cy="365125"/>
          </a:xfrm>
        </p:spPr>
        <p:txBody>
          <a:bodyPr/>
          <a:lstStyle/>
          <a:p>
            <a:fld id="{6280478B-365D-4F66-A9A1-3DC8C3BE2962}" type="slidenum">
              <a:rPr lang="zh-CN" altLang="en-US" smtClean="0"/>
            </a:fld>
            <a:endParaRPr lang="zh-CN" altLang="en-US" dirty="0"/>
          </a:p>
        </p:txBody>
      </p:sp>
      <p:sp>
        <p:nvSpPr>
          <p:cNvPr id="89" name="文本框 88"/>
          <p:cNvSpPr txBox="1"/>
          <p:nvPr/>
        </p:nvSpPr>
        <p:spPr>
          <a:xfrm>
            <a:off x="590419" y="231228"/>
            <a:ext cx="11240202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.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情景模拟</a:t>
            </a:r>
            <a:r>
              <a:rPr lang="en-US" altLang="zh-CN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--</a:t>
            </a:r>
            <a:r>
              <a:rPr lang="zh-CN" altLang="en-US" sz="2800" b="1" kern="0" dirty="0" smtClean="0">
                <a:solidFill>
                  <a:srgbClr val="4E5A62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问路</a:t>
            </a:r>
            <a:endParaRPr lang="zh-CN" altLang="en-US" sz="2800" b="1" kern="0" dirty="0" smtClean="0">
              <a:solidFill>
                <a:srgbClr val="4E5A62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0" name="文本框 89"/>
          <p:cNvSpPr txBox="1"/>
          <p:nvPr/>
        </p:nvSpPr>
        <p:spPr>
          <a:xfrm>
            <a:off x="662305" y="1021715"/>
            <a:ext cx="6101080" cy="5800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 smtClean="0">
                <a:solidFill>
                  <a:srgbClr val="4E5A62"/>
                </a:solidFill>
              </a:rPr>
              <a:t>请根据以下中文提示进行英语对话：</a:t>
            </a:r>
            <a:endParaRPr lang="zh-CN" altLang="en-US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打扰一下，你能告诉我怎么去超市吗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Excuse me,could you tell me the way to the supermarket?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B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当然可以，沿着这条街一直走然后在红路灯路口右转，然后一直往前走直到你在你左手边看到了银行，超市就在银行的旁边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rgbClr val="4E5A62"/>
                </a:solidFill>
              </a:rPr>
              <a:t>     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Sure,go along this road and turn right at the traffic lights.Go stright  ahead until you see the bank,and the supermarket is next to the bank.</a:t>
            </a:r>
            <a:endParaRPr lang="en-US" altLang="zh-CN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多远呢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How far is it?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B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大约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3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千米，你最好乘公交车去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rgbClr val="4E5A62"/>
                </a:solidFill>
              </a:rPr>
              <a:t>    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About 3 kilometers,you'd better take a bus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我应该乘坐哪一路公交车呢？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Which bus shall I take?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B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10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路公交车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rgbClr val="4E5A62"/>
                </a:solidFill>
              </a:rPr>
              <a:t>    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Bus No.10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A</a:t>
            </a: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：非常感谢！</a:t>
            </a:r>
            <a:endParaRPr lang="zh-CN" altLang="en-US" sz="160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3">
                    <a:lumMod val="50000"/>
                  </a:schemeClr>
                </a:solidFill>
              </a:rPr>
              <a:t>     </a:t>
            </a:r>
            <a:r>
              <a:rPr lang="en-US" altLang="zh-CN" sz="1600" dirty="0" smtClean="0">
                <a:solidFill>
                  <a:schemeClr val="accent3">
                    <a:lumMod val="50000"/>
                  </a:schemeClr>
                </a:solidFill>
              </a:rPr>
              <a:t>Thanks a lot.</a:t>
            </a:r>
            <a:endParaRPr lang="zh-CN" altLang="en-US" sz="1600" dirty="0" smtClean="0">
              <a:solidFill>
                <a:srgbClr val="4E5A62"/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B</a:t>
            </a: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：不用谢。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1600" dirty="0" smtClean="0">
                <a:solidFill>
                  <a:schemeClr val="accent6">
                    <a:lumMod val="50000"/>
                  </a:schemeClr>
                </a:solidFill>
              </a:rPr>
              <a:t>     </a:t>
            </a:r>
            <a:r>
              <a:rPr lang="en-US" altLang="zh-CN" sz="1600" dirty="0" smtClean="0">
                <a:solidFill>
                  <a:schemeClr val="accent6">
                    <a:lumMod val="50000"/>
                  </a:schemeClr>
                </a:solidFill>
              </a:rPr>
              <a:t>It's my pleasure.</a:t>
            </a: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zh-CN" altLang="en-US" sz="16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6763138" y="1523365"/>
            <a:ext cx="4765922" cy="3393440"/>
            <a:chOff x="9016" y="2525"/>
            <a:chExt cx="7505" cy="5344"/>
          </a:xfrm>
        </p:grpSpPr>
        <p:cxnSp>
          <p:nvCxnSpPr>
            <p:cNvPr id="5" name="肘形连接符 4"/>
            <p:cNvCxnSpPr/>
            <p:nvPr/>
          </p:nvCxnSpPr>
          <p:spPr>
            <a:xfrm>
              <a:off x="13146" y="2525"/>
              <a:ext cx="3358" cy="1832"/>
            </a:xfrm>
            <a:prstGeom prst="bentConnector3">
              <a:avLst>
                <a:gd name="adj1" fmla="val 297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肘形连接符 5"/>
            <p:cNvCxnSpPr/>
            <p:nvPr/>
          </p:nvCxnSpPr>
          <p:spPr>
            <a:xfrm flipV="1">
              <a:off x="13164" y="5374"/>
              <a:ext cx="3340" cy="2495"/>
            </a:xfrm>
            <a:prstGeom prst="bentConnector3">
              <a:avLst>
                <a:gd name="adj1" fmla="val 29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肘形连接符 6"/>
            <p:cNvCxnSpPr/>
            <p:nvPr/>
          </p:nvCxnSpPr>
          <p:spPr>
            <a:xfrm rot="10800000" flipV="1">
              <a:off x="9319" y="2525"/>
              <a:ext cx="2731" cy="1832"/>
            </a:xfrm>
            <a:prstGeom prst="bentConnector3">
              <a:avLst>
                <a:gd name="adj1" fmla="val -659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肘形连接符 7"/>
            <p:cNvCxnSpPr/>
            <p:nvPr/>
          </p:nvCxnSpPr>
          <p:spPr>
            <a:xfrm rot="10800000">
              <a:off x="9246" y="5374"/>
              <a:ext cx="2804" cy="2442"/>
            </a:xfrm>
            <a:prstGeom prst="bentConnector3">
              <a:avLst>
                <a:gd name="adj1" fmla="val -641"/>
              </a:avLst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2050" y="4637"/>
              <a:ext cx="1086" cy="456"/>
            </a:xfrm>
            <a:prstGeom prst="rect">
              <a:avLst/>
            </a:prstGeom>
          </p:spPr>
        </p:pic>
        <p:sp>
          <p:nvSpPr>
            <p:cNvPr id="12" name="同侧圆角矩形 11"/>
            <p:cNvSpPr/>
            <p:nvPr/>
          </p:nvSpPr>
          <p:spPr>
            <a:xfrm>
              <a:off x="13181" y="7169"/>
              <a:ext cx="1276" cy="647"/>
            </a:xfrm>
            <a:prstGeom prst="round2Same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en-US" altLang="zh-CN" b="1">
                  <a:solidFill>
                    <a:schemeClr val="accent3">
                      <a:lumMod val="50000"/>
                    </a:schemeClr>
                  </a:solidFill>
                  <a:latin typeface="Arial Bold" panose="020B0604020202090204" charset="0"/>
                  <a:cs typeface="Arial Bold" panose="020B0604020202090204" charset="0"/>
                </a:rPr>
                <a:t>bank</a:t>
              </a:r>
              <a:endParaRPr lang="en-US" altLang="zh-CN" b="1">
                <a:solidFill>
                  <a:schemeClr val="accent3">
                    <a:lumMod val="50000"/>
                  </a:schemeClr>
                </a:solidFill>
                <a:latin typeface="Arial Bold" panose="020B0604020202090204" charset="0"/>
                <a:cs typeface="Arial Bold" panose="020B0604020202090204" charset="0"/>
              </a:endParaRPr>
            </a:p>
          </p:txBody>
        </p:sp>
        <p:sp>
          <p:nvSpPr>
            <p:cNvPr id="13" name="同侧圆角矩形 12"/>
            <p:cNvSpPr/>
            <p:nvPr/>
          </p:nvSpPr>
          <p:spPr>
            <a:xfrm>
              <a:off x="14457" y="7169"/>
              <a:ext cx="2064" cy="648"/>
            </a:xfrm>
            <a:prstGeom prst="round2SameRect">
              <a:avLst/>
            </a:prstGeom>
            <a:solidFill>
              <a:srgbClr val="B7CC3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en-US" altLang="zh-CN" sz="1400" b="1">
                  <a:solidFill>
                    <a:schemeClr val="accent3">
                      <a:lumMod val="50000"/>
                    </a:schemeClr>
                  </a:solidFill>
                  <a:latin typeface="Arial Bold" panose="020B0604020202090204" charset="0"/>
                  <a:cs typeface="Arial Bold" panose="020B0604020202090204" charset="0"/>
                </a:rPr>
                <a:t>supermarket</a:t>
              </a:r>
              <a:endParaRPr lang="en-US" altLang="zh-CN" sz="1400" b="1">
                <a:solidFill>
                  <a:schemeClr val="accent3">
                    <a:lumMod val="50000"/>
                  </a:schemeClr>
                </a:solidFill>
                <a:latin typeface="Arial Bold" panose="020B0604020202090204" charset="0"/>
                <a:cs typeface="Arial Bold" panose="020B0604020202090204" charset="0"/>
              </a:endParaRPr>
            </a:p>
          </p:txBody>
        </p:sp>
        <p:sp>
          <p:nvSpPr>
            <p:cNvPr id="140" name="Round Same Side Corner Rectangle 20"/>
            <p:cNvSpPr/>
            <p:nvPr/>
          </p:nvSpPr>
          <p:spPr>
            <a:xfrm rot="10800000">
              <a:off x="9016" y="4637"/>
              <a:ext cx="462" cy="985"/>
            </a:xfrm>
            <a:custGeom>
              <a:avLst/>
              <a:gdLst>
                <a:gd name="connsiteX0" fmla="*/ 1228565 w 1856332"/>
                <a:gd name="connsiteY0" fmla="*/ 3214674 h 3959924"/>
                <a:gd name="connsiteX1" fmla="*/ 622681 w 1856332"/>
                <a:gd name="connsiteY1" fmla="*/ 3214674 h 3959924"/>
                <a:gd name="connsiteX2" fmla="*/ 521281 w 1856332"/>
                <a:gd name="connsiteY2" fmla="*/ 3174669 h 3959924"/>
                <a:gd name="connsiteX3" fmla="*/ 466697 w 1856332"/>
                <a:gd name="connsiteY3" fmla="*/ 3144149 h 3959924"/>
                <a:gd name="connsiteX4" fmla="*/ 8303 w 1856332"/>
                <a:gd name="connsiteY4" fmla="*/ 1942070 h 3959924"/>
                <a:gd name="connsiteX5" fmla="*/ 81139 w 1856332"/>
                <a:gd name="connsiteY5" fmla="*/ 1779444 h 3959924"/>
                <a:gd name="connsiteX6" fmla="*/ 243764 w 1856332"/>
                <a:gd name="connsiteY6" fmla="*/ 1852280 h 3959924"/>
                <a:gd name="connsiteX7" fmla="*/ 504770 w 1856332"/>
                <a:gd name="connsiteY7" fmla="*/ 2536736 h 3959924"/>
                <a:gd name="connsiteX8" fmla="*/ 555637 w 1856332"/>
                <a:gd name="connsiteY8" fmla="*/ 2536736 h 3959924"/>
                <a:gd name="connsiteX9" fmla="*/ 226299 w 1856332"/>
                <a:gd name="connsiteY9" fmla="*/ 1210417 h 3959924"/>
                <a:gd name="connsiteX10" fmla="*/ 551784 w 1856332"/>
                <a:gd name="connsiteY10" fmla="*/ 1210417 h 3959924"/>
                <a:gd name="connsiteX11" fmla="*/ 551784 w 1856332"/>
                <a:gd name="connsiteY11" fmla="*/ 168335 h 3959924"/>
                <a:gd name="connsiteX12" fmla="*/ 720119 w 1856332"/>
                <a:gd name="connsiteY12" fmla="*/ 0 h 3959924"/>
                <a:gd name="connsiteX13" fmla="*/ 888454 w 1856332"/>
                <a:gd name="connsiteY13" fmla="*/ 168335 h 3959924"/>
                <a:gd name="connsiteX14" fmla="*/ 888454 w 1856332"/>
                <a:gd name="connsiteY14" fmla="*/ 1210417 h 3959924"/>
                <a:gd name="connsiteX15" fmla="*/ 968040 w 1856332"/>
                <a:gd name="connsiteY15" fmla="*/ 1210417 h 3959924"/>
                <a:gd name="connsiteX16" fmla="*/ 968040 w 1856332"/>
                <a:gd name="connsiteY16" fmla="*/ 168335 h 3959924"/>
                <a:gd name="connsiteX17" fmla="*/ 1136375 w 1856332"/>
                <a:gd name="connsiteY17" fmla="*/ 0 h 3959924"/>
                <a:gd name="connsiteX18" fmla="*/ 1304710 w 1856332"/>
                <a:gd name="connsiteY18" fmla="*/ 168335 h 3959924"/>
                <a:gd name="connsiteX19" fmla="*/ 1304710 w 1856332"/>
                <a:gd name="connsiteY19" fmla="*/ 1210417 h 3959924"/>
                <a:gd name="connsiteX20" fmla="*/ 1631589 w 1856332"/>
                <a:gd name="connsiteY20" fmla="*/ 1210417 h 3959924"/>
                <a:gd name="connsiteX21" fmla="*/ 1302251 w 1856332"/>
                <a:gd name="connsiteY21" fmla="*/ 2536736 h 3959924"/>
                <a:gd name="connsiteX22" fmla="*/ 1351562 w 1856332"/>
                <a:gd name="connsiteY22" fmla="*/ 2536736 h 3959924"/>
                <a:gd name="connsiteX23" fmla="*/ 1612568 w 1856332"/>
                <a:gd name="connsiteY23" fmla="*/ 1852280 h 3959924"/>
                <a:gd name="connsiteX24" fmla="*/ 1775193 w 1856332"/>
                <a:gd name="connsiteY24" fmla="*/ 1779444 h 3959924"/>
                <a:gd name="connsiteX25" fmla="*/ 1848029 w 1856332"/>
                <a:gd name="connsiteY25" fmla="*/ 1942070 h 3959924"/>
                <a:gd name="connsiteX26" fmla="*/ 1389635 w 1856332"/>
                <a:gd name="connsiteY26" fmla="*/ 3144149 h 3959924"/>
                <a:gd name="connsiteX27" fmla="*/ 1344732 w 1856332"/>
                <a:gd name="connsiteY27" fmla="*/ 3176282 h 3959924"/>
                <a:gd name="connsiteX28" fmla="*/ 1228565 w 1856332"/>
                <a:gd name="connsiteY28" fmla="*/ 3214674 h 3959924"/>
                <a:gd name="connsiteX29" fmla="*/ 925623 w 1856332"/>
                <a:gd name="connsiteY29" fmla="*/ 3959924 h 3959924"/>
                <a:gd name="connsiteX30" fmla="*/ 601623 w 1856332"/>
                <a:gd name="connsiteY30" fmla="*/ 3635924 h 3959924"/>
                <a:gd name="connsiteX31" fmla="*/ 925623 w 1856332"/>
                <a:gd name="connsiteY31" fmla="*/ 3311924 h 3959924"/>
                <a:gd name="connsiteX32" fmla="*/ 1249623 w 1856332"/>
                <a:gd name="connsiteY32" fmla="*/ 3635924 h 3959924"/>
                <a:gd name="connsiteX33" fmla="*/ 925623 w 1856332"/>
                <a:gd name="connsiteY33" fmla="*/ 3959924 h 3959924"/>
                <a:gd name="connsiteX0-1" fmla="*/ 1228565 w 1856332"/>
                <a:gd name="connsiteY0-2" fmla="*/ 3214674 h 3959924"/>
                <a:gd name="connsiteX1-3" fmla="*/ 622681 w 1856332"/>
                <a:gd name="connsiteY1-4" fmla="*/ 3214674 h 3959924"/>
                <a:gd name="connsiteX2-5" fmla="*/ 466697 w 1856332"/>
                <a:gd name="connsiteY2-6" fmla="*/ 3144149 h 3959924"/>
                <a:gd name="connsiteX3-7" fmla="*/ 8303 w 1856332"/>
                <a:gd name="connsiteY3-8" fmla="*/ 1942070 h 3959924"/>
                <a:gd name="connsiteX4-9" fmla="*/ 81139 w 1856332"/>
                <a:gd name="connsiteY4-10" fmla="*/ 1779444 h 3959924"/>
                <a:gd name="connsiteX5-11" fmla="*/ 243764 w 1856332"/>
                <a:gd name="connsiteY5-12" fmla="*/ 1852280 h 3959924"/>
                <a:gd name="connsiteX6-13" fmla="*/ 504770 w 1856332"/>
                <a:gd name="connsiteY6-14" fmla="*/ 2536736 h 3959924"/>
                <a:gd name="connsiteX7-15" fmla="*/ 555637 w 1856332"/>
                <a:gd name="connsiteY7-16" fmla="*/ 2536736 h 3959924"/>
                <a:gd name="connsiteX8-17" fmla="*/ 226299 w 1856332"/>
                <a:gd name="connsiteY8-18" fmla="*/ 1210417 h 3959924"/>
                <a:gd name="connsiteX9-19" fmla="*/ 551784 w 1856332"/>
                <a:gd name="connsiteY9-20" fmla="*/ 1210417 h 3959924"/>
                <a:gd name="connsiteX10-21" fmla="*/ 551784 w 1856332"/>
                <a:gd name="connsiteY10-22" fmla="*/ 168335 h 3959924"/>
                <a:gd name="connsiteX11-23" fmla="*/ 720119 w 1856332"/>
                <a:gd name="connsiteY11-24" fmla="*/ 0 h 3959924"/>
                <a:gd name="connsiteX12-25" fmla="*/ 888454 w 1856332"/>
                <a:gd name="connsiteY12-26" fmla="*/ 168335 h 3959924"/>
                <a:gd name="connsiteX13-27" fmla="*/ 888454 w 1856332"/>
                <a:gd name="connsiteY13-28" fmla="*/ 1210417 h 3959924"/>
                <a:gd name="connsiteX14-29" fmla="*/ 968040 w 1856332"/>
                <a:gd name="connsiteY14-30" fmla="*/ 1210417 h 3959924"/>
                <a:gd name="connsiteX15-31" fmla="*/ 968040 w 1856332"/>
                <a:gd name="connsiteY15-32" fmla="*/ 168335 h 3959924"/>
                <a:gd name="connsiteX16-33" fmla="*/ 1136375 w 1856332"/>
                <a:gd name="connsiteY16-34" fmla="*/ 0 h 3959924"/>
                <a:gd name="connsiteX17-35" fmla="*/ 1304710 w 1856332"/>
                <a:gd name="connsiteY17-36" fmla="*/ 168335 h 3959924"/>
                <a:gd name="connsiteX18-37" fmla="*/ 1304710 w 1856332"/>
                <a:gd name="connsiteY18-38" fmla="*/ 1210417 h 3959924"/>
                <a:gd name="connsiteX19-39" fmla="*/ 1631589 w 1856332"/>
                <a:gd name="connsiteY19-40" fmla="*/ 1210417 h 3959924"/>
                <a:gd name="connsiteX20-41" fmla="*/ 1302251 w 1856332"/>
                <a:gd name="connsiteY20-42" fmla="*/ 2536736 h 3959924"/>
                <a:gd name="connsiteX21-43" fmla="*/ 1351562 w 1856332"/>
                <a:gd name="connsiteY21-44" fmla="*/ 2536736 h 3959924"/>
                <a:gd name="connsiteX22-45" fmla="*/ 1612568 w 1856332"/>
                <a:gd name="connsiteY22-46" fmla="*/ 1852280 h 3959924"/>
                <a:gd name="connsiteX23-47" fmla="*/ 1775193 w 1856332"/>
                <a:gd name="connsiteY23-48" fmla="*/ 1779444 h 3959924"/>
                <a:gd name="connsiteX24-49" fmla="*/ 1848029 w 1856332"/>
                <a:gd name="connsiteY24-50" fmla="*/ 1942070 h 3959924"/>
                <a:gd name="connsiteX25-51" fmla="*/ 1389635 w 1856332"/>
                <a:gd name="connsiteY25-52" fmla="*/ 3144149 h 3959924"/>
                <a:gd name="connsiteX26-53" fmla="*/ 1344732 w 1856332"/>
                <a:gd name="connsiteY26-54" fmla="*/ 3176282 h 3959924"/>
                <a:gd name="connsiteX27-55" fmla="*/ 1228565 w 1856332"/>
                <a:gd name="connsiteY27-56" fmla="*/ 3214674 h 3959924"/>
                <a:gd name="connsiteX28-57" fmla="*/ 925623 w 1856332"/>
                <a:gd name="connsiteY28-58" fmla="*/ 3959924 h 3959924"/>
                <a:gd name="connsiteX29-59" fmla="*/ 601623 w 1856332"/>
                <a:gd name="connsiteY29-60" fmla="*/ 3635924 h 3959924"/>
                <a:gd name="connsiteX30-61" fmla="*/ 925623 w 1856332"/>
                <a:gd name="connsiteY30-62" fmla="*/ 3311924 h 3959924"/>
                <a:gd name="connsiteX31-63" fmla="*/ 1249623 w 1856332"/>
                <a:gd name="connsiteY31-64" fmla="*/ 3635924 h 3959924"/>
                <a:gd name="connsiteX32-65" fmla="*/ 925623 w 1856332"/>
                <a:gd name="connsiteY32-66" fmla="*/ 3959924 h 3959924"/>
                <a:gd name="connsiteX0-67" fmla="*/ 1228565 w 1856332"/>
                <a:gd name="connsiteY0-68" fmla="*/ 3214674 h 3959924"/>
                <a:gd name="connsiteX1-69" fmla="*/ 622681 w 1856332"/>
                <a:gd name="connsiteY1-70" fmla="*/ 3214674 h 3959924"/>
                <a:gd name="connsiteX2-71" fmla="*/ 466697 w 1856332"/>
                <a:gd name="connsiteY2-72" fmla="*/ 3144149 h 3959924"/>
                <a:gd name="connsiteX3-73" fmla="*/ 8303 w 1856332"/>
                <a:gd name="connsiteY3-74" fmla="*/ 1942070 h 3959924"/>
                <a:gd name="connsiteX4-75" fmla="*/ 81139 w 1856332"/>
                <a:gd name="connsiteY4-76" fmla="*/ 1779444 h 3959924"/>
                <a:gd name="connsiteX5-77" fmla="*/ 243764 w 1856332"/>
                <a:gd name="connsiteY5-78" fmla="*/ 1852280 h 3959924"/>
                <a:gd name="connsiteX6-79" fmla="*/ 504770 w 1856332"/>
                <a:gd name="connsiteY6-80" fmla="*/ 2536736 h 3959924"/>
                <a:gd name="connsiteX7-81" fmla="*/ 555637 w 1856332"/>
                <a:gd name="connsiteY7-82" fmla="*/ 2536736 h 3959924"/>
                <a:gd name="connsiteX8-83" fmla="*/ 226299 w 1856332"/>
                <a:gd name="connsiteY8-84" fmla="*/ 1210417 h 3959924"/>
                <a:gd name="connsiteX9-85" fmla="*/ 551784 w 1856332"/>
                <a:gd name="connsiteY9-86" fmla="*/ 1210417 h 3959924"/>
                <a:gd name="connsiteX10-87" fmla="*/ 551784 w 1856332"/>
                <a:gd name="connsiteY10-88" fmla="*/ 168335 h 3959924"/>
                <a:gd name="connsiteX11-89" fmla="*/ 720119 w 1856332"/>
                <a:gd name="connsiteY11-90" fmla="*/ 0 h 3959924"/>
                <a:gd name="connsiteX12-91" fmla="*/ 888454 w 1856332"/>
                <a:gd name="connsiteY12-92" fmla="*/ 168335 h 3959924"/>
                <a:gd name="connsiteX13-93" fmla="*/ 888454 w 1856332"/>
                <a:gd name="connsiteY13-94" fmla="*/ 1210417 h 3959924"/>
                <a:gd name="connsiteX14-95" fmla="*/ 968040 w 1856332"/>
                <a:gd name="connsiteY14-96" fmla="*/ 1210417 h 3959924"/>
                <a:gd name="connsiteX15-97" fmla="*/ 968040 w 1856332"/>
                <a:gd name="connsiteY15-98" fmla="*/ 168335 h 3959924"/>
                <a:gd name="connsiteX16-99" fmla="*/ 1136375 w 1856332"/>
                <a:gd name="connsiteY16-100" fmla="*/ 0 h 3959924"/>
                <a:gd name="connsiteX17-101" fmla="*/ 1304710 w 1856332"/>
                <a:gd name="connsiteY17-102" fmla="*/ 168335 h 3959924"/>
                <a:gd name="connsiteX18-103" fmla="*/ 1304710 w 1856332"/>
                <a:gd name="connsiteY18-104" fmla="*/ 1210417 h 3959924"/>
                <a:gd name="connsiteX19-105" fmla="*/ 1631589 w 1856332"/>
                <a:gd name="connsiteY19-106" fmla="*/ 1210417 h 3959924"/>
                <a:gd name="connsiteX20-107" fmla="*/ 1302251 w 1856332"/>
                <a:gd name="connsiteY20-108" fmla="*/ 2536736 h 3959924"/>
                <a:gd name="connsiteX21-109" fmla="*/ 1351562 w 1856332"/>
                <a:gd name="connsiteY21-110" fmla="*/ 2536736 h 3959924"/>
                <a:gd name="connsiteX22-111" fmla="*/ 1612568 w 1856332"/>
                <a:gd name="connsiteY22-112" fmla="*/ 1852280 h 3959924"/>
                <a:gd name="connsiteX23-113" fmla="*/ 1775193 w 1856332"/>
                <a:gd name="connsiteY23-114" fmla="*/ 1779444 h 3959924"/>
                <a:gd name="connsiteX24-115" fmla="*/ 1848029 w 1856332"/>
                <a:gd name="connsiteY24-116" fmla="*/ 1942070 h 3959924"/>
                <a:gd name="connsiteX25-117" fmla="*/ 1389635 w 1856332"/>
                <a:gd name="connsiteY25-118" fmla="*/ 3144149 h 3959924"/>
                <a:gd name="connsiteX26-119" fmla="*/ 1344732 w 1856332"/>
                <a:gd name="connsiteY26-120" fmla="*/ 3176282 h 3959924"/>
                <a:gd name="connsiteX27-121" fmla="*/ 1228565 w 1856332"/>
                <a:gd name="connsiteY27-122" fmla="*/ 3214674 h 3959924"/>
                <a:gd name="connsiteX28-123" fmla="*/ 925623 w 1856332"/>
                <a:gd name="connsiteY28-124" fmla="*/ 3959924 h 3959924"/>
                <a:gd name="connsiteX29-125" fmla="*/ 601623 w 1856332"/>
                <a:gd name="connsiteY29-126" fmla="*/ 3635924 h 3959924"/>
                <a:gd name="connsiteX30-127" fmla="*/ 925623 w 1856332"/>
                <a:gd name="connsiteY30-128" fmla="*/ 3311924 h 3959924"/>
                <a:gd name="connsiteX31-129" fmla="*/ 1249623 w 1856332"/>
                <a:gd name="connsiteY31-130" fmla="*/ 3635924 h 3959924"/>
                <a:gd name="connsiteX32-131" fmla="*/ 925623 w 1856332"/>
                <a:gd name="connsiteY32-132" fmla="*/ 3959924 h 3959924"/>
                <a:gd name="connsiteX0-133" fmla="*/ 1228565 w 1856332"/>
                <a:gd name="connsiteY0-134" fmla="*/ 3214674 h 3959924"/>
                <a:gd name="connsiteX1-135" fmla="*/ 622681 w 1856332"/>
                <a:gd name="connsiteY1-136" fmla="*/ 3214674 h 3959924"/>
                <a:gd name="connsiteX2-137" fmla="*/ 466697 w 1856332"/>
                <a:gd name="connsiteY2-138" fmla="*/ 3144149 h 3959924"/>
                <a:gd name="connsiteX3-139" fmla="*/ 8303 w 1856332"/>
                <a:gd name="connsiteY3-140" fmla="*/ 1942070 h 3959924"/>
                <a:gd name="connsiteX4-141" fmla="*/ 81139 w 1856332"/>
                <a:gd name="connsiteY4-142" fmla="*/ 1779444 h 3959924"/>
                <a:gd name="connsiteX5-143" fmla="*/ 243764 w 1856332"/>
                <a:gd name="connsiteY5-144" fmla="*/ 1852280 h 3959924"/>
                <a:gd name="connsiteX6-145" fmla="*/ 504770 w 1856332"/>
                <a:gd name="connsiteY6-146" fmla="*/ 2536736 h 3959924"/>
                <a:gd name="connsiteX7-147" fmla="*/ 555637 w 1856332"/>
                <a:gd name="connsiteY7-148" fmla="*/ 2536736 h 3959924"/>
                <a:gd name="connsiteX8-149" fmla="*/ 226299 w 1856332"/>
                <a:gd name="connsiteY8-150" fmla="*/ 1210417 h 3959924"/>
                <a:gd name="connsiteX9-151" fmla="*/ 551784 w 1856332"/>
                <a:gd name="connsiteY9-152" fmla="*/ 1210417 h 3959924"/>
                <a:gd name="connsiteX10-153" fmla="*/ 551784 w 1856332"/>
                <a:gd name="connsiteY10-154" fmla="*/ 168335 h 3959924"/>
                <a:gd name="connsiteX11-155" fmla="*/ 720119 w 1856332"/>
                <a:gd name="connsiteY11-156" fmla="*/ 0 h 3959924"/>
                <a:gd name="connsiteX12-157" fmla="*/ 888454 w 1856332"/>
                <a:gd name="connsiteY12-158" fmla="*/ 168335 h 3959924"/>
                <a:gd name="connsiteX13-159" fmla="*/ 888454 w 1856332"/>
                <a:gd name="connsiteY13-160" fmla="*/ 1210417 h 3959924"/>
                <a:gd name="connsiteX14-161" fmla="*/ 968040 w 1856332"/>
                <a:gd name="connsiteY14-162" fmla="*/ 1210417 h 3959924"/>
                <a:gd name="connsiteX15-163" fmla="*/ 968040 w 1856332"/>
                <a:gd name="connsiteY15-164" fmla="*/ 168335 h 3959924"/>
                <a:gd name="connsiteX16-165" fmla="*/ 1136375 w 1856332"/>
                <a:gd name="connsiteY16-166" fmla="*/ 0 h 3959924"/>
                <a:gd name="connsiteX17-167" fmla="*/ 1304710 w 1856332"/>
                <a:gd name="connsiteY17-168" fmla="*/ 168335 h 3959924"/>
                <a:gd name="connsiteX18-169" fmla="*/ 1304710 w 1856332"/>
                <a:gd name="connsiteY18-170" fmla="*/ 1210417 h 3959924"/>
                <a:gd name="connsiteX19-171" fmla="*/ 1631589 w 1856332"/>
                <a:gd name="connsiteY19-172" fmla="*/ 1210417 h 3959924"/>
                <a:gd name="connsiteX20-173" fmla="*/ 1302251 w 1856332"/>
                <a:gd name="connsiteY20-174" fmla="*/ 2536736 h 3959924"/>
                <a:gd name="connsiteX21-175" fmla="*/ 1351562 w 1856332"/>
                <a:gd name="connsiteY21-176" fmla="*/ 2536736 h 3959924"/>
                <a:gd name="connsiteX22-177" fmla="*/ 1612568 w 1856332"/>
                <a:gd name="connsiteY22-178" fmla="*/ 1852280 h 3959924"/>
                <a:gd name="connsiteX23-179" fmla="*/ 1775193 w 1856332"/>
                <a:gd name="connsiteY23-180" fmla="*/ 1779444 h 3959924"/>
                <a:gd name="connsiteX24-181" fmla="*/ 1848029 w 1856332"/>
                <a:gd name="connsiteY24-182" fmla="*/ 1942070 h 3959924"/>
                <a:gd name="connsiteX25-183" fmla="*/ 1389635 w 1856332"/>
                <a:gd name="connsiteY25-184" fmla="*/ 3144149 h 3959924"/>
                <a:gd name="connsiteX26-185" fmla="*/ 1228565 w 1856332"/>
                <a:gd name="connsiteY26-186" fmla="*/ 3214674 h 3959924"/>
                <a:gd name="connsiteX27-187" fmla="*/ 925623 w 1856332"/>
                <a:gd name="connsiteY27-188" fmla="*/ 3959924 h 3959924"/>
                <a:gd name="connsiteX28-189" fmla="*/ 601623 w 1856332"/>
                <a:gd name="connsiteY28-190" fmla="*/ 3635924 h 3959924"/>
                <a:gd name="connsiteX29-191" fmla="*/ 925623 w 1856332"/>
                <a:gd name="connsiteY29-192" fmla="*/ 3311924 h 3959924"/>
                <a:gd name="connsiteX30-193" fmla="*/ 1249623 w 1856332"/>
                <a:gd name="connsiteY30-194" fmla="*/ 3635924 h 3959924"/>
                <a:gd name="connsiteX31-195" fmla="*/ 925623 w 1856332"/>
                <a:gd name="connsiteY31-196" fmla="*/ 3959924 h 3959924"/>
                <a:gd name="connsiteX0-197" fmla="*/ 1228565 w 1856332"/>
                <a:gd name="connsiteY0-198" fmla="*/ 3214674 h 3959924"/>
                <a:gd name="connsiteX1-199" fmla="*/ 622681 w 1856332"/>
                <a:gd name="connsiteY1-200" fmla="*/ 3214674 h 3959924"/>
                <a:gd name="connsiteX2-201" fmla="*/ 466697 w 1856332"/>
                <a:gd name="connsiteY2-202" fmla="*/ 3144149 h 3959924"/>
                <a:gd name="connsiteX3-203" fmla="*/ 8303 w 1856332"/>
                <a:gd name="connsiteY3-204" fmla="*/ 1942070 h 3959924"/>
                <a:gd name="connsiteX4-205" fmla="*/ 81139 w 1856332"/>
                <a:gd name="connsiteY4-206" fmla="*/ 1779444 h 3959924"/>
                <a:gd name="connsiteX5-207" fmla="*/ 243764 w 1856332"/>
                <a:gd name="connsiteY5-208" fmla="*/ 1852280 h 3959924"/>
                <a:gd name="connsiteX6-209" fmla="*/ 504770 w 1856332"/>
                <a:gd name="connsiteY6-210" fmla="*/ 2536736 h 3959924"/>
                <a:gd name="connsiteX7-211" fmla="*/ 555637 w 1856332"/>
                <a:gd name="connsiteY7-212" fmla="*/ 2536736 h 3959924"/>
                <a:gd name="connsiteX8-213" fmla="*/ 226299 w 1856332"/>
                <a:gd name="connsiteY8-214" fmla="*/ 1210417 h 3959924"/>
                <a:gd name="connsiteX9-215" fmla="*/ 551784 w 1856332"/>
                <a:gd name="connsiteY9-216" fmla="*/ 1210417 h 3959924"/>
                <a:gd name="connsiteX10-217" fmla="*/ 551784 w 1856332"/>
                <a:gd name="connsiteY10-218" fmla="*/ 168335 h 3959924"/>
                <a:gd name="connsiteX11-219" fmla="*/ 720119 w 1856332"/>
                <a:gd name="connsiteY11-220" fmla="*/ 0 h 3959924"/>
                <a:gd name="connsiteX12-221" fmla="*/ 888454 w 1856332"/>
                <a:gd name="connsiteY12-222" fmla="*/ 168335 h 3959924"/>
                <a:gd name="connsiteX13-223" fmla="*/ 888454 w 1856332"/>
                <a:gd name="connsiteY13-224" fmla="*/ 1210417 h 3959924"/>
                <a:gd name="connsiteX14-225" fmla="*/ 968040 w 1856332"/>
                <a:gd name="connsiteY14-226" fmla="*/ 1210417 h 3959924"/>
                <a:gd name="connsiteX15-227" fmla="*/ 968040 w 1856332"/>
                <a:gd name="connsiteY15-228" fmla="*/ 168335 h 3959924"/>
                <a:gd name="connsiteX16-229" fmla="*/ 1136375 w 1856332"/>
                <a:gd name="connsiteY16-230" fmla="*/ 0 h 3959924"/>
                <a:gd name="connsiteX17-231" fmla="*/ 1304710 w 1856332"/>
                <a:gd name="connsiteY17-232" fmla="*/ 168335 h 3959924"/>
                <a:gd name="connsiteX18-233" fmla="*/ 1304710 w 1856332"/>
                <a:gd name="connsiteY18-234" fmla="*/ 1210417 h 3959924"/>
                <a:gd name="connsiteX19-235" fmla="*/ 1631589 w 1856332"/>
                <a:gd name="connsiteY19-236" fmla="*/ 1210417 h 3959924"/>
                <a:gd name="connsiteX20-237" fmla="*/ 1302251 w 1856332"/>
                <a:gd name="connsiteY20-238" fmla="*/ 2536736 h 3959924"/>
                <a:gd name="connsiteX21-239" fmla="*/ 1351562 w 1856332"/>
                <a:gd name="connsiteY21-240" fmla="*/ 2536736 h 3959924"/>
                <a:gd name="connsiteX22-241" fmla="*/ 1612568 w 1856332"/>
                <a:gd name="connsiteY22-242" fmla="*/ 1852280 h 3959924"/>
                <a:gd name="connsiteX23-243" fmla="*/ 1775193 w 1856332"/>
                <a:gd name="connsiteY23-244" fmla="*/ 1779444 h 3959924"/>
                <a:gd name="connsiteX24-245" fmla="*/ 1848029 w 1856332"/>
                <a:gd name="connsiteY24-246" fmla="*/ 1942070 h 3959924"/>
                <a:gd name="connsiteX25-247" fmla="*/ 1389635 w 1856332"/>
                <a:gd name="connsiteY25-248" fmla="*/ 3144149 h 3959924"/>
                <a:gd name="connsiteX26-249" fmla="*/ 1228565 w 1856332"/>
                <a:gd name="connsiteY26-250" fmla="*/ 3214674 h 3959924"/>
                <a:gd name="connsiteX27-251" fmla="*/ 925623 w 1856332"/>
                <a:gd name="connsiteY27-252" fmla="*/ 3959924 h 3959924"/>
                <a:gd name="connsiteX28-253" fmla="*/ 601623 w 1856332"/>
                <a:gd name="connsiteY28-254" fmla="*/ 3635924 h 3959924"/>
                <a:gd name="connsiteX29-255" fmla="*/ 925623 w 1856332"/>
                <a:gd name="connsiteY29-256" fmla="*/ 3311924 h 3959924"/>
                <a:gd name="connsiteX30-257" fmla="*/ 1249623 w 1856332"/>
                <a:gd name="connsiteY30-258" fmla="*/ 3635924 h 3959924"/>
                <a:gd name="connsiteX31-259" fmla="*/ 925623 w 1856332"/>
                <a:gd name="connsiteY31-260" fmla="*/ 3959924 h 3959924"/>
                <a:gd name="connsiteX0-261" fmla="*/ 1228565 w 1856332"/>
                <a:gd name="connsiteY0-262" fmla="*/ 3214674 h 3959924"/>
                <a:gd name="connsiteX1-263" fmla="*/ 622681 w 1856332"/>
                <a:gd name="connsiteY1-264" fmla="*/ 3214674 h 3959924"/>
                <a:gd name="connsiteX2-265" fmla="*/ 466697 w 1856332"/>
                <a:gd name="connsiteY2-266" fmla="*/ 3144149 h 3959924"/>
                <a:gd name="connsiteX3-267" fmla="*/ 8303 w 1856332"/>
                <a:gd name="connsiteY3-268" fmla="*/ 1942070 h 3959924"/>
                <a:gd name="connsiteX4-269" fmla="*/ 81139 w 1856332"/>
                <a:gd name="connsiteY4-270" fmla="*/ 1779444 h 3959924"/>
                <a:gd name="connsiteX5-271" fmla="*/ 243764 w 1856332"/>
                <a:gd name="connsiteY5-272" fmla="*/ 1852280 h 3959924"/>
                <a:gd name="connsiteX6-273" fmla="*/ 504770 w 1856332"/>
                <a:gd name="connsiteY6-274" fmla="*/ 2536736 h 3959924"/>
                <a:gd name="connsiteX7-275" fmla="*/ 555637 w 1856332"/>
                <a:gd name="connsiteY7-276" fmla="*/ 2536736 h 3959924"/>
                <a:gd name="connsiteX8-277" fmla="*/ 226299 w 1856332"/>
                <a:gd name="connsiteY8-278" fmla="*/ 1210417 h 3959924"/>
                <a:gd name="connsiteX9-279" fmla="*/ 551784 w 1856332"/>
                <a:gd name="connsiteY9-280" fmla="*/ 1210417 h 3959924"/>
                <a:gd name="connsiteX10-281" fmla="*/ 551784 w 1856332"/>
                <a:gd name="connsiteY10-282" fmla="*/ 168335 h 3959924"/>
                <a:gd name="connsiteX11-283" fmla="*/ 720119 w 1856332"/>
                <a:gd name="connsiteY11-284" fmla="*/ 0 h 3959924"/>
                <a:gd name="connsiteX12-285" fmla="*/ 888454 w 1856332"/>
                <a:gd name="connsiteY12-286" fmla="*/ 168335 h 3959924"/>
                <a:gd name="connsiteX13-287" fmla="*/ 888454 w 1856332"/>
                <a:gd name="connsiteY13-288" fmla="*/ 1210417 h 3959924"/>
                <a:gd name="connsiteX14-289" fmla="*/ 968040 w 1856332"/>
                <a:gd name="connsiteY14-290" fmla="*/ 1210417 h 3959924"/>
                <a:gd name="connsiteX15-291" fmla="*/ 968040 w 1856332"/>
                <a:gd name="connsiteY15-292" fmla="*/ 168335 h 3959924"/>
                <a:gd name="connsiteX16-293" fmla="*/ 1136375 w 1856332"/>
                <a:gd name="connsiteY16-294" fmla="*/ 0 h 3959924"/>
                <a:gd name="connsiteX17-295" fmla="*/ 1304710 w 1856332"/>
                <a:gd name="connsiteY17-296" fmla="*/ 168335 h 3959924"/>
                <a:gd name="connsiteX18-297" fmla="*/ 1304710 w 1856332"/>
                <a:gd name="connsiteY18-298" fmla="*/ 1210417 h 3959924"/>
                <a:gd name="connsiteX19-299" fmla="*/ 1631589 w 1856332"/>
                <a:gd name="connsiteY19-300" fmla="*/ 1210417 h 3959924"/>
                <a:gd name="connsiteX20-301" fmla="*/ 1302251 w 1856332"/>
                <a:gd name="connsiteY20-302" fmla="*/ 2536736 h 3959924"/>
                <a:gd name="connsiteX21-303" fmla="*/ 1351562 w 1856332"/>
                <a:gd name="connsiteY21-304" fmla="*/ 2536736 h 3959924"/>
                <a:gd name="connsiteX22-305" fmla="*/ 1612568 w 1856332"/>
                <a:gd name="connsiteY22-306" fmla="*/ 1852280 h 3959924"/>
                <a:gd name="connsiteX23-307" fmla="*/ 1775193 w 1856332"/>
                <a:gd name="connsiteY23-308" fmla="*/ 1779444 h 3959924"/>
                <a:gd name="connsiteX24-309" fmla="*/ 1848029 w 1856332"/>
                <a:gd name="connsiteY24-310" fmla="*/ 1942070 h 3959924"/>
                <a:gd name="connsiteX25-311" fmla="*/ 1389635 w 1856332"/>
                <a:gd name="connsiteY25-312" fmla="*/ 3144149 h 3959924"/>
                <a:gd name="connsiteX26-313" fmla="*/ 1228565 w 1856332"/>
                <a:gd name="connsiteY26-314" fmla="*/ 3214674 h 3959924"/>
                <a:gd name="connsiteX27-315" fmla="*/ 925623 w 1856332"/>
                <a:gd name="connsiteY27-316" fmla="*/ 3959924 h 3959924"/>
                <a:gd name="connsiteX28-317" fmla="*/ 601623 w 1856332"/>
                <a:gd name="connsiteY28-318" fmla="*/ 3635924 h 3959924"/>
                <a:gd name="connsiteX29-319" fmla="*/ 925623 w 1856332"/>
                <a:gd name="connsiteY29-320" fmla="*/ 3311924 h 3959924"/>
                <a:gd name="connsiteX30-321" fmla="*/ 1249623 w 1856332"/>
                <a:gd name="connsiteY30-322" fmla="*/ 3635924 h 3959924"/>
                <a:gd name="connsiteX31-323" fmla="*/ 925623 w 1856332"/>
                <a:gd name="connsiteY31-324" fmla="*/ 3959924 h 395992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  <a:cxn ang="0">
                  <a:pos x="connsiteX14-29" y="connsiteY14-30"/>
                </a:cxn>
                <a:cxn ang="0">
                  <a:pos x="connsiteX15-31" y="connsiteY15-32"/>
                </a:cxn>
                <a:cxn ang="0">
                  <a:pos x="connsiteX16-33" y="connsiteY16-34"/>
                </a:cxn>
                <a:cxn ang="0">
                  <a:pos x="connsiteX17-35" y="connsiteY17-36"/>
                </a:cxn>
                <a:cxn ang="0">
                  <a:pos x="connsiteX18-37" y="connsiteY18-38"/>
                </a:cxn>
                <a:cxn ang="0">
                  <a:pos x="connsiteX19-39" y="connsiteY19-40"/>
                </a:cxn>
                <a:cxn ang="0">
                  <a:pos x="connsiteX20-41" y="connsiteY20-42"/>
                </a:cxn>
                <a:cxn ang="0">
                  <a:pos x="connsiteX21-43" y="connsiteY21-44"/>
                </a:cxn>
                <a:cxn ang="0">
                  <a:pos x="connsiteX22-45" y="connsiteY22-46"/>
                </a:cxn>
                <a:cxn ang="0">
                  <a:pos x="connsiteX23-47" y="connsiteY23-48"/>
                </a:cxn>
                <a:cxn ang="0">
                  <a:pos x="connsiteX24-49" y="connsiteY24-50"/>
                </a:cxn>
                <a:cxn ang="0">
                  <a:pos x="connsiteX25-51" y="connsiteY25-52"/>
                </a:cxn>
                <a:cxn ang="0">
                  <a:pos x="connsiteX26-53" y="connsiteY26-54"/>
                </a:cxn>
                <a:cxn ang="0">
                  <a:pos x="connsiteX27-55" y="connsiteY27-56"/>
                </a:cxn>
                <a:cxn ang="0">
                  <a:pos x="connsiteX28-57" y="connsiteY28-58"/>
                </a:cxn>
                <a:cxn ang="0">
                  <a:pos x="connsiteX29-59" y="connsiteY29-60"/>
                </a:cxn>
                <a:cxn ang="0">
                  <a:pos x="connsiteX30-61" y="connsiteY30-62"/>
                </a:cxn>
                <a:cxn ang="0">
                  <a:pos x="connsiteX31-63" y="connsiteY31-64"/>
                </a:cxn>
              </a:cxnLst>
              <a:rect l="l" t="t" r="r" b="b"/>
              <a:pathLst>
                <a:path w="1856332" h="3959924">
                  <a:moveTo>
                    <a:pt x="1228565" y="3214674"/>
                  </a:moveTo>
                  <a:lnTo>
                    <a:pt x="622681" y="3214674"/>
                  </a:lnTo>
                  <a:cubicBezTo>
                    <a:pt x="495703" y="3202920"/>
                    <a:pt x="501057" y="3225622"/>
                    <a:pt x="466697" y="3144149"/>
                  </a:cubicBezTo>
                  <a:lnTo>
                    <a:pt x="8303" y="1942070"/>
                  </a:lnTo>
                  <a:cubicBezTo>
                    <a:pt x="-16491" y="1877049"/>
                    <a:pt x="16118" y="1804239"/>
                    <a:pt x="81139" y="1779444"/>
                  </a:cubicBezTo>
                  <a:cubicBezTo>
                    <a:pt x="146160" y="1754650"/>
                    <a:pt x="218970" y="1787259"/>
                    <a:pt x="243764" y="1852280"/>
                  </a:cubicBezTo>
                  <a:lnTo>
                    <a:pt x="504770" y="2536736"/>
                  </a:lnTo>
                  <a:lnTo>
                    <a:pt x="555637" y="2536736"/>
                  </a:lnTo>
                  <a:lnTo>
                    <a:pt x="226299" y="1210417"/>
                  </a:lnTo>
                  <a:lnTo>
                    <a:pt x="551784" y="1210417"/>
                  </a:lnTo>
                  <a:lnTo>
                    <a:pt x="551784" y="168335"/>
                  </a:lnTo>
                  <a:cubicBezTo>
                    <a:pt x="551784" y="75366"/>
                    <a:pt x="627150" y="0"/>
                    <a:pt x="720119" y="0"/>
                  </a:cubicBezTo>
                  <a:cubicBezTo>
                    <a:pt x="813088" y="0"/>
                    <a:pt x="888454" y="75366"/>
                    <a:pt x="888454" y="168335"/>
                  </a:cubicBezTo>
                  <a:lnTo>
                    <a:pt x="888454" y="1210417"/>
                  </a:lnTo>
                  <a:lnTo>
                    <a:pt x="968040" y="1210417"/>
                  </a:lnTo>
                  <a:lnTo>
                    <a:pt x="968040" y="168335"/>
                  </a:lnTo>
                  <a:cubicBezTo>
                    <a:pt x="968040" y="75366"/>
                    <a:pt x="1043406" y="0"/>
                    <a:pt x="1136375" y="0"/>
                  </a:cubicBezTo>
                  <a:cubicBezTo>
                    <a:pt x="1229344" y="0"/>
                    <a:pt x="1304710" y="75366"/>
                    <a:pt x="1304710" y="168335"/>
                  </a:cubicBezTo>
                  <a:lnTo>
                    <a:pt x="1304710" y="1210417"/>
                  </a:lnTo>
                  <a:lnTo>
                    <a:pt x="1631589" y="1210417"/>
                  </a:lnTo>
                  <a:lnTo>
                    <a:pt x="1302251" y="2536736"/>
                  </a:lnTo>
                  <a:lnTo>
                    <a:pt x="1351562" y="2536736"/>
                  </a:lnTo>
                  <a:lnTo>
                    <a:pt x="1612568" y="1852280"/>
                  </a:lnTo>
                  <a:cubicBezTo>
                    <a:pt x="1637362" y="1787259"/>
                    <a:pt x="1710172" y="1754650"/>
                    <a:pt x="1775193" y="1779444"/>
                  </a:cubicBezTo>
                  <a:cubicBezTo>
                    <a:pt x="1840214" y="1804239"/>
                    <a:pt x="1872823" y="1877049"/>
                    <a:pt x="1848029" y="1942070"/>
                  </a:cubicBezTo>
                  <a:lnTo>
                    <a:pt x="1389635" y="3144149"/>
                  </a:lnTo>
                  <a:cubicBezTo>
                    <a:pt x="1348984" y="3225622"/>
                    <a:pt x="1356391" y="3202920"/>
                    <a:pt x="1228565" y="3214674"/>
                  </a:cubicBezTo>
                  <a:close/>
                  <a:moveTo>
                    <a:pt x="925623" y="3959924"/>
                  </a:moveTo>
                  <a:cubicBezTo>
                    <a:pt x="746683" y="3959924"/>
                    <a:pt x="601623" y="3814864"/>
                    <a:pt x="601623" y="3635924"/>
                  </a:cubicBezTo>
                  <a:cubicBezTo>
                    <a:pt x="601623" y="3456984"/>
                    <a:pt x="746683" y="3311924"/>
                    <a:pt x="925623" y="3311924"/>
                  </a:cubicBezTo>
                  <a:cubicBezTo>
                    <a:pt x="1104563" y="3311924"/>
                    <a:pt x="1249623" y="3456984"/>
                    <a:pt x="1249623" y="3635924"/>
                  </a:cubicBezTo>
                  <a:cubicBezTo>
                    <a:pt x="1249623" y="3814864"/>
                    <a:pt x="1104563" y="3959924"/>
                    <a:pt x="925623" y="3959924"/>
                  </a:cubicBezTo>
                  <a:close/>
                </a:path>
              </a:pathLst>
            </a:custGeom>
            <a:solidFill>
              <a:srgbClr val="1A75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ko-KR" altLang="en-US" sz="2400"/>
            </a:p>
          </p:txBody>
        </p:sp>
        <p:sp>
          <p:nvSpPr>
            <p:cNvPr id="14" name="燕尾形箭头 13"/>
            <p:cNvSpPr/>
            <p:nvPr/>
          </p:nvSpPr>
          <p:spPr>
            <a:xfrm>
              <a:off x="9894" y="4734"/>
              <a:ext cx="1581" cy="359"/>
            </a:xfrm>
            <a:prstGeom prst="notchedRightArrow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  <p:cxnSp>
        <p:nvCxnSpPr>
          <p:cNvPr id="16" name="直接连接符 15"/>
          <p:cNvCxnSpPr/>
          <p:nvPr/>
        </p:nvCxnSpPr>
        <p:spPr>
          <a:xfrm flipV="1">
            <a:off x="9408160" y="4888230"/>
            <a:ext cx="2041525" cy="2286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</p:transition>
    </mc:Choice>
    <mc:Fallback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ORIGLEFT" val="303.875"/>
  <p:tag name="ORIGTOP" val="139.125"/>
  <p:tag name="ORIGHEIGHT" val="22.25"/>
  <p:tag name="ORIGWIDTH" val="22.5"/>
</p:tagLst>
</file>

<file path=ppt/tags/tag4.xml><?xml version="1.0" encoding="utf-8"?>
<p:tagLst xmlns:p="http://schemas.openxmlformats.org/presentationml/2006/main">
  <p:tag name="ORIGLEFT" val="331.875"/>
  <p:tag name="ORIGTOP" val="139.125"/>
  <p:tag name="ORIGHEIGHT" val="22.25"/>
  <p:tag name="ORIGWIDTH" val="22.5"/>
</p:tagLst>
</file>

<file path=ppt/tags/tag5.xml><?xml version="1.0" encoding="utf-8"?>
<p:tagLst xmlns:p="http://schemas.openxmlformats.org/presentationml/2006/main">
  <p:tag name="ORIGLEFT" val="360"/>
  <p:tag name="ORIGTOP" val="139.125"/>
  <p:tag name="ORIGHEIGHT" val="22.25"/>
  <p:tag name="ORIGWIDTH" val="22.5"/>
</p:tagLst>
</file>

<file path=ppt/tags/tag6.xml><?xml version="1.0" encoding="utf-8"?>
<p:tagLst xmlns:p="http://schemas.openxmlformats.org/presentationml/2006/main">
  <p:tag name="ORIGLEFT" val="388.125"/>
  <p:tag name="ORIGTOP" val="139.125"/>
  <p:tag name="ORIGHEIGHT" val="22.25"/>
  <p:tag name="ORIGWIDTH" val="22.5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9BF"/>
      </a:accent1>
      <a:accent2>
        <a:srgbClr val="B0CB1D"/>
      </a:accent2>
      <a:accent3>
        <a:srgbClr val="7752C4"/>
      </a:accent3>
      <a:accent4>
        <a:srgbClr val="034D95"/>
      </a:accent4>
      <a:accent5>
        <a:srgbClr val="3F859B"/>
      </a:accent5>
      <a:accent6>
        <a:srgbClr val="D81728"/>
      </a:accent6>
      <a:hlink>
        <a:srgbClr val="4472C4"/>
      </a:hlink>
      <a:folHlink>
        <a:srgbClr val="BFBFBF"/>
      </a:folHlink>
    </a:clrScheme>
    <a:fontScheme name="自定义 3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16</Words>
  <Application>WPS 演示</Application>
  <PresentationFormat>宽屏</PresentationFormat>
  <Paragraphs>224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2</vt:i4>
      </vt:variant>
    </vt:vector>
  </HeadingPairs>
  <TitlesOfParts>
    <vt:vector size="29" baseType="lpstr">
      <vt:lpstr>Arial</vt:lpstr>
      <vt:lpstr>方正书宋_GBK</vt:lpstr>
      <vt:lpstr>Wingdings</vt:lpstr>
      <vt:lpstr>微软雅黑</vt:lpstr>
      <vt:lpstr>Lato Light</vt:lpstr>
      <vt:lpstr>Arial Bold</vt:lpstr>
      <vt:lpstr>汉仪旗黑</vt:lpstr>
      <vt:lpstr>宋体</vt:lpstr>
      <vt:lpstr>Arial Unicode MS</vt:lpstr>
      <vt:lpstr>Thonburi</vt:lpstr>
      <vt:lpstr>汉仪书宋二KW</vt:lpstr>
      <vt:lpstr>等线</vt:lpstr>
      <vt:lpstr>汉仪中等线KW</vt:lpstr>
      <vt:lpstr>微软雅黑</vt:lpstr>
      <vt:lpstr>Office 主题​​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ou Winnie</dc:creator>
  <cp:lastModifiedBy>impzhang</cp:lastModifiedBy>
  <cp:revision>59</cp:revision>
  <dcterms:created xsi:type="dcterms:W3CDTF">2020-12-18T03:35:39Z</dcterms:created>
  <dcterms:modified xsi:type="dcterms:W3CDTF">2020-12-18T03:3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6.1.4274</vt:lpwstr>
  </property>
</Properties>
</file>